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709" r:id="rId5"/>
  </p:sldMasterIdLst>
  <p:notesMasterIdLst>
    <p:notesMasterId r:id="rId18"/>
  </p:notesMasterIdLst>
  <p:handoutMasterIdLst>
    <p:handoutMasterId r:id="rId19"/>
  </p:handoutMasterIdLst>
  <p:sldIdLst>
    <p:sldId id="1063" r:id="rId6"/>
    <p:sldId id="1117" r:id="rId7"/>
    <p:sldId id="256" r:id="rId8"/>
    <p:sldId id="1118" r:id="rId9"/>
    <p:sldId id="1104" r:id="rId10"/>
    <p:sldId id="272" r:id="rId11"/>
    <p:sldId id="1051" r:id="rId12"/>
    <p:sldId id="2076137437" r:id="rId13"/>
    <p:sldId id="2076137438" r:id="rId14"/>
    <p:sldId id="1068" r:id="rId15"/>
    <p:sldId id="1126" r:id="rId16"/>
    <p:sldId id="1075" r:id="rId17"/>
  </p:sldIdLst>
  <p:sldSz cx="9144000" cy="5143500" type="screen16x9"/>
  <p:notesSz cx="6797675" cy="9926638"/>
  <p:defaultTextStyle>
    <a:defPPr>
      <a:defRPr lang="fi-FI"/>
    </a:defPPr>
    <a:lvl1pPr marL="0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1pPr>
    <a:lvl2pPr marL="339932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2pPr>
    <a:lvl3pPr marL="67987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3pPr>
    <a:lvl4pPr marL="1019807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4pPr>
    <a:lvl5pPr marL="135974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5pPr>
    <a:lvl6pPr marL="1699681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134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ukonen Sini" initials="KS" lastIdx="7" clrIdx="0">
    <p:extLst>
      <p:ext uri="{19B8F6BF-5375-455C-9EA6-DF929625EA0E}">
        <p15:presenceInfo xmlns:p15="http://schemas.microsoft.com/office/powerpoint/2012/main" userId="S-1-5-21-1871869801-2214748161-1963216912-121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000000"/>
    <a:srgbClr val="FFFF00"/>
    <a:srgbClr val="85E869"/>
    <a:srgbClr val="FF805C"/>
    <a:srgbClr val="FF00B8"/>
    <a:srgbClr val="8A0FA6"/>
    <a:srgbClr val="141F94"/>
    <a:srgbClr val="0F78B2"/>
    <a:srgbClr val="0ACFC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C9586CA-564D-4A87-8543-C3A70CFC5EEF}" v="1" dt="2021-08-02T07:52:46.142"/>
    <p1510:client id="{B53143DA-4E82-4934-AF6D-B66CEDDD54E8}" v="9" dt="2021-08-04T05:39:54.701"/>
  </p1510:revLst>
</p1510:revInfo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Normaali tyyli 2 - Korostu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Normaali tyyli 2 - Korostu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Normaali tyyli 2 - Korostu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Normaali tyyli 2 - Korostu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212" autoAdjust="0"/>
    <p:restoredTop sz="86016" autoAdjust="0"/>
  </p:normalViewPr>
  <p:slideViewPr>
    <p:cSldViewPr showGuides="1">
      <p:cViewPr varScale="1">
        <p:scale>
          <a:sx n="129" d="100"/>
          <a:sy n="129" d="100"/>
        </p:scale>
        <p:origin x="786" y="12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3972" y="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utaporras Petteri" userId="d9004aa4-7491-43fa-b04f-4f6e300df2fa" providerId="ADAL" clId="{8F242647-212A-466A-AA1E-CA9003D6AA23}"/>
    <pc:docChg chg="custSel modSld">
      <pc:chgData name="Rautaporras Petteri" userId="d9004aa4-7491-43fa-b04f-4f6e300df2fa" providerId="ADAL" clId="{8F242647-212A-466A-AA1E-CA9003D6AA23}" dt="2021-02-04T08:42:59.175" v="450" actId="27918"/>
      <pc:docMkLst>
        <pc:docMk/>
      </pc:docMkLst>
      <pc:sldChg chg="mod">
        <pc:chgData name="Rautaporras Petteri" userId="d9004aa4-7491-43fa-b04f-4f6e300df2fa" providerId="ADAL" clId="{8F242647-212A-466A-AA1E-CA9003D6AA23}" dt="2021-02-02T21:22:42.485" v="52" actId="27918"/>
        <pc:sldMkLst>
          <pc:docMk/>
          <pc:sldMk cId="3461487886" sldId="1065"/>
        </pc:sldMkLst>
      </pc:sldChg>
      <pc:sldChg chg="modSp mod">
        <pc:chgData name="Rautaporras Petteri" userId="d9004aa4-7491-43fa-b04f-4f6e300df2fa" providerId="ADAL" clId="{8F242647-212A-466A-AA1E-CA9003D6AA23}" dt="2021-02-03T07:43:33.274" v="423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8F242647-212A-466A-AA1E-CA9003D6AA23}" dt="2021-02-03T07:43:33.274" v="423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d9004aa4-7491-43fa-b04f-4f6e300df2fa" providerId="ADAL" clId="{8F242647-212A-466A-AA1E-CA9003D6AA23}" dt="2021-02-03T07:43:28.482" v="422" actId="20577"/>
        <pc:sldMkLst>
          <pc:docMk/>
          <pc:sldMk cId="3128374377" sldId="1076"/>
        </pc:sldMkLst>
        <pc:spChg chg="mod">
          <ac:chgData name="Rautaporras Petteri" userId="d9004aa4-7491-43fa-b04f-4f6e300df2fa" providerId="ADAL" clId="{8F242647-212A-466A-AA1E-CA9003D6AA23}" dt="2021-02-03T07:43:28.482" v="422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8F242647-212A-466A-AA1E-CA9003D6AA23}" dt="2021-02-03T07:50:57.680" v="44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8F242647-212A-466A-AA1E-CA9003D6AA23}" dt="2021-02-03T07:50:57.680" v="44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8F242647-212A-466A-AA1E-CA9003D6AA23}" dt="2021-02-02T21:19:07.930" v="4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8F242647-212A-466A-AA1E-CA9003D6AA23}" dt="2021-02-02T21:19:07.930" v="4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">
        <pc:chgData name="Rautaporras Petteri" userId="d9004aa4-7491-43fa-b04f-4f6e300df2fa" providerId="ADAL" clId="{8F242647-212A-466A-AA1E-CA9003D6AA23}" dt="2021-02-04T08:42:59.175" v="450" actId="27918"/>
        <pc:sldMkLst>
          <pc:docMk/>
          <pc:sldMk cId="1038765052" sldId="1123"/>
        </pc:sldMkLst>
      </pc:sldChg>
      <pc:sldChg chg="modSp mod">
        <pc:chgData name="Rautaporras Petteri" userId="d9004aa4-7491-43fa-b04f-4f6e300df2fa" providerId="ADAL" clId="{8F242647-212A-466A-AA1E-CA9003D6AA23}" dt="2021-02-03T07:49:09.122" v="440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8F242647-212A-466A-AA1E-CA9003D6AA23}" dt="2021-02-03T07:49:09.122" v="440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8F242647-212A-466A-AA1E-CA9003D6AA23}" dt="2021-02-04T07:16:03.808" v="446" actId="1076"/>
        <pc:sldMkLst>
          <pc:docMk/>
          <pc:sldMk cId="1005875025" sldId="2076137431"/>
        </pc:sldMkLst>
        <pc:picChg chg="add mod">
          <ac:chgData name="Rautaporras Petteri" userId="d9004aa4-7491-43fa-b04f-4f6e300df2fa" providerId="ADAL" clId="{8F242647-212A-466A-AA1E-CA9003D6AA23}" dt="2021-02-04T07:16:03.808" v="446" actId="1076"/>
          <ac:picMkLst>
            <pc:docMk/>
            <pc:sldMk cId="1005875025" sldId="2076137431"/>
            <ac:picMk id="8" creationId="{59382AD7-337A-46FD-BF8C-31C8662EEECB}"/>
          </ac:picMkLst>
        </pc:picChg>
        <pc:picChg chg="del">
          <ac:chgData name="Rautaporras Petteri" userId="d9004aa4-7491-43fa-b04f-4f6e300df2fa" providerId="ADAL" clId="{8F242647-212A-466A-AA1E-CA9003D6AA23}" dt="2021-02-04T07:15:55.371" v="442" actId="478"/>
          <ac:picMkLst>
            <pc:docMk/>
            <pc:sldMk cId="1005875025" sldId="2076137431"/>
            <ac:picMk id="9" creationId="{58679CF2-5FFA-4479-8381-24ADAA3A2147}"/>
          </ac:picMkLst>
        </pc:picChg>
      </pc:sldChg>
    </pc:docChg>
  </pc:docChgLst>
  <pc:docChgLst>
    <pc:chgData name="Rautaporras Petteri" userId="d9004aa4-7491-43fa-b04f-4f6e300df2fa" providerId="ADAL" clId="{DE362A46-FCCA-4B04-BECA-B95882F25295}"/>
    <pc:docChg chg="undo custSel addSld delSld modSld sldOrd">
      <pc:chgData name="Rautaporras Petteri" userId="d9004aa4-7491-43fa-b04f-4f6e300df2fa" providerId="ADAL" clId="{DE362A46-FCCA-4B04-BECA-B95882F25295}" dt="2021-02-02T13:54:24.872" v="750"/>
      <pc:docMkLst>
        <pc:docMk/>
      </pc:docMkLst>
      <pc:sldChg chg="modSp del">
        <pc:chgData name="Rautaporras Petteri" userId="d9004aa4-7491-43fa-b04f-4f6e300df2fa" providerId="ADAL" clId="{DE362A46-FCCA-4B04-BECA-B95882F25295}" dt="2021-02-02T12:50:30.148" v="232" actId="47"/>
        <pc:sldMkLst>
          <pc:docMk/>
          <pc:sldMk cId="2510371092" sldId="266"/>
        </pc:sldMkLst>
        <pc:graphicFrameChg chg="mod">
          <ac:chgData name="Rautaporras Petteri" userId="d9004aa4-7491-43fa-b04f-4f6e300df2fa" providerId="ADAL" clId="{DE362A46-FCCA-4B04-BECA-B95882F25295}" dt="2021-02-02T12:46:22.062" v="125"/>
          <ac:graphicFrameMkLst>
            <pc:docMk/>
            <pc:sldMk cId="2510371092" sldId="266"/>
            <ac:graphicFrameMk id="11" creationId="{3A4DDF37-D261-416F-B789-60D7BE706FAC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6" v="268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DE362A46-FCCA-4B04-BECA-B95882F25295}" dt="2021-02-02T13:29:10.346" v="268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DE362A46-FCCA-4B04-BECA-B95882F25295}" dt="2021-02-02T12:50:38.190" v="233" actId="47"/>
        <pc:sldMkLst>
          <pc:docMk/>
          <pc:sldMk cId="299574909" sldId="272"/>
        </pc:sldMkLst>
        <pc:graphicFrameChg chg="mod">
          <ac:chgData name="Rautaporras Petteri" userId="d9004aa4-7491-43fa-b04f-4f6e300df2fa" providerId="ADAL" clId="{DE362A46-FCCA-4B04-BECA-B95882F25295}" dt="2021-02-02T12:46:23.087" v="127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modSp">
        <pc:chgData name="Rautaporras Petteri" userId="d9004aa4-7491-43fa-b04f-4f6e300df2fa" providerId="ADAL" clId="{DE362A46-FCCA-4B04-BECA-B95882F25295}" dt="2021-02-02T13:29:10.341" v="26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DE362A46-FCCA-4B04-BECA-B95882F25295}" dt="2021-02-02T13:29:10.341" v="26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add del">
        <pc:chgData name="Rautaporras Petteri" userId="d9004aa4-7491-43fa-b04f-4f6e300df2fa" providerId="ADAL" clId="{DE362A46-FCCA-4B04-BECA-B95882F25295}" dt="2021-02-02T13:32:20.034" v="363" actId="47"/>
        <pc:sldMkLst>
          <pc:docMk/>
          <pc:sldMk cId="1883353922" sldId="1049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1255078131" sldId="1051"/>
        </pc:sldMkLst>
      </pc:sldChg>
      <pc:sldChg chg="add del">
        <pc:chgData name="Rautaporras Petteri" userId="d9004aa4-7491-43fa-b04f-4f6e300df2fa" providerId="ADAL" clId="{DE362A46-FCCA-4B04-BECA-B95882F25295}" dt="2021-02-02T13:32:01.241" v="359" actId="47"/>
        <pc:sldMkLst>
          <pc:docMk/>
          <pc:sldMk cId="2419185632" sldId="1052"/>
        </pc:sldMkLst>
      </pc:sldChg>
      <pc:sldChg chg="add del">
        <pc:chgData name="Rautaporras Petteri" userId="d9004aa4-7491-43fa-b04f-4f6e300df2fa" providerId="ADAL" clId="{DE362A46-FCCA-4B04-BECA-B95882F25295}" dt="2021-02-02T13:32:02.280" v="360" actId="47"/>
        <pc:sldMkLst>
          <pc:docMk/>
          <pc:sldMk cId="1883107858" sldId="1053"/>
        </pc:sldMkLst>
      </pc:sldChg>
      <pc:sldChg chg="add ord">
        <pc:chgData name="Rautaporras Petteri" userId="d9004aa4-7491-43fa-b04f-4f6e300df2fa" providerId="ADAL" clId="{DE362A46-FCCA-4B04-BECA-B95882F25295}" dt="2021-02-02T13:32:10.408" v="362"/>
        <pc:sldMkLst>
          <pc:docMk/>
          <pc:sldMk cId="1680971455" sldId="1054"/>
        </pc:sldMkLst>
      </pc:sldChg>
      <pc:sldChg chg="add del">
        <pc:chgData name="Rautaporras Petteri" userId="d9004aa4-7491-43fa-b04f-4f6e300df2fa" providerId="ADAL" clId="{DE362A46-FCCA-4B04-BECA-B95882F25295}" dt="2021-02-02T13:32:23.857" v="364" actId="47"/>
        <pc:sldMkLst>
          <pc:docMk/>
          <pc:sldMk cId="2199243574" sldId="1055"/>
        </pc:sldMkLst>
      </pc:sldChg>
      <pc:sldChg chg="modSp mod">
        <pc:chgData name="Rautaporras Petteri" userId="d9004aa4-7491-43fa-b04f-4f6e300df2fa" providerId="ADAL" clId="{DE362A46-FCCA-4B04-BECA-B95882F25295}" dt="2021-02-02T12:42:07.042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DE362A46-FCCA-4B04-BECA-B95882F25295}" dt="2021-02-02T12:42:07.042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461487886" sldId="1065"/>
        </pc:sldMkLst>
      </pc:sldChg>
      <pc:sldChg chg="add">
        <pc:chgData name="Rautaporras Petteri" userId="d9004aa4-7491-43fa-b04f-4f6e300df2fa" providerId="ADAL" clId="{DE362A46-FCCA-4B04-BECA-B95882F25295}" dt="2021-02-02T13:31:51.719" v="358"/>
        <pc:sldMkLst>
          <pc:docMk/>
          <pc:sldMk cId="3926641037" sldId="1068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929075840" sldId="1075"/>
        </pc:sldMkLst>
      </pc:sldChg>
      <pc:sldChg chg="add">
        <pc:chgData name="Rautaporras Petteri" userId="d9004aa4-7491-43fa-b04f-4f6e300df2fa" providerId="ADAL" clId="{DE362A46-FCCA-4B04-BECA-B95882F25295}" dt="2021-02-02T13:54:24.872" v="750"/>
        <pc:sldMkLst>
          <pc:docMk/>
          <pc:sldMk cId="3128374377" sldId="1076"/>
        </pc:sldMkLst>
      </pc:sldChg>
      <pc:sldChg chg="delSp modSp mod">
        <pc:chgData name="Rautaporras Petteri" userId="d9004aa4-7491-43fa-b04f-4f6e300df2fa" providerId="ADAL" clId="{DE362A46-FCCA-4B04-BECA-B95882F25295}" dt="2021-02-02T12:45:46.708" v="115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DE362A46-FCCA-4B04-BECA-B95882F25295}" dt="2021-02-02T12:45:46.708" v="115" actId="20577"/>
          <ac:spMkLst>
            <pc:docMk/>
            <pc:sldMk cId="2573167509" sldId="1104"/>
            <ac:spMk id="2" creationId="{4BB0440D-C81A-46A2-A992-15D38EB5099C}"/>
          </ac:spMkLst>
        </pc:spChg>
        <pc:spChg chg="del mod">
          <ac:chgData name="Rautaporras Petteri" userId="d9004aa4-7491-43fa-b04f-4f6e300df2fa" providerId="ADAL" clId="{DE362A46-FCCA-4B04-BECA-B95882F25295}" dt="2021-02-02T12:44:32.492" v="53" actId="478"/>
          <ac:spMkLst>
            <pc:docMk/>
            <pc:sldMk cId="2573167509" sldId="1104"/>
            <ac:spMk id="6" creationId="{01E05333-9BB3-4F34-A84F-F04B9AA04BD6}"/>
          </ac:spMkLst>
        </pc:spChg>
      </pc:sldChg>
      <pc:sldChg chg="modSp mod">
        <pc:chgData name="Rautaporras Petteri" userId="d9004aa4-7491-43fa-b04f-4f6e300df2fa" providerId="ADAL" clId="{DE362A46-FCCA-4B04-BECA-B95882F25295}" dt="2021-02-02T12:43:13.419" v="32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DE362A46-FCCA-4B04-BECA-B95882F25295}" dt="2021-02-02T12:43:13.419" v="32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addSp delSp modSp mod">
        <pc:chgData name="Rautaporras Petteri" userId="d9004aa4-7491-43fa-b04f-4f6e300df2fa" providerId="ADAL" clId="{DE362A46-FCCA-4B04-BECA-B95882F25295}" dt="2021-02-02T13:29:10.335" v="265"/>
        <pc:sldMkLst>
          <pc:docMk/>
          <pc:sldMk cId="3588709971" sldId="1118"/>
        </pc:sldMkLst>
        <pc:spChg chg="del mod">
          <ac:chgData name="Rautaporras Petteri" userId="d9004aa4-7491-43fa-b04f-4f6e300df2fa" providerId="ADAL" clId="{DE362A46-FCCA-4B04-BECA-B95882F25295}" dt="2021-02-02T12:44:05.866" v="49" actId="478"/>
          <ac:spMkLst>
            <pc:docMk/>
            <pc:sldMk cId="3588709971" sldId="1118"/>
            <ac:spMk id="2" creationId="{10D60A89-2036-4328-B2B7-88F906F1B4CB}"/>
          </ac:spMkLst>
        </pc:spChg>
        <pc:spChg chg="add mod">
          <ac:chgData name="Rautaporras Petteri" userId="d9004aa4-7491-43fa-b04f-4f6e300df2fa" providerId="ADAL" clId="{DE362A46-FCCA-4B04-BECA-B95882F25295}" dt="2021-02-02T12:44:08.445" v="51" actId="20577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DE362A46-FCCA-4B04-BECA-B95882F25295}" dt="2021-02-02T13:29:10.335" v="265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29:10.338" v="266"/>
        <pc:sldMkLst>
          <pc:docMk/>
          <pc:sldMk cId="37404522" sldId="1119"/>
        </pc:sldMkLst>
        <pc:spChg chg="mod">
          <ac:chgData name="Rautaporras Petteri" userId="d9004aa4-7491-43fa-b04f-4f6e300df2fa" providerId="ADAL" clId="{DE362A46-FCCA-4B04-BECA-B95882F25295}" dt="2021-02-02T12:50:13.686" v="231" actId="20577"/>
          <ac:spMkLst>
            <pc:docMk/>
            <pc:sldMk cId="37404522" sldId="1119"/>
            <ac:spMk id="2" creationId="{00000000-0000-0000-0000-000000000000}"/>
          </ac:spMkLst>
        </pc:spChg>
        <pc:graphicFrameChg chg="mod">
          <ac:chgData name="Rautaporras Petteri" userId="d9004aa4-7491-43fa-b04f-4f6e300df2fa" providerId="ADAL" clId="{DE362A46-FCCA-4B04-BECA-B95882F25295}" dt="2021-02-02T13:29:10.338" v="266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modSp mod">
        <pc:chgData name="Rautaporras Petteri" userId="d9004aa4-7491-43fa-b04f-4f6e300df2fa" providerId="ADAL" clId="{DE362A46-FCCA-4B04-BECA-B95882F25295}" dt="2021-02-02T13:30:55.629" v="357" actId="27918"/>
        <pc:sldMkLst>
          <pc:docMk/>
          <pc:sldMk cId="2832050897" sldId="1124"/>
        </pc:sldMkLst>
        <pc:spChg chg="mod">
          <ac:chgData name="Rautaporras Petteri" userId="d9004aa4-7491-43fa-b04f-4f6e300df2fa" providerId="ADAL" clId="{DE362A46-FCCA-4B04-BECA-B95882F25295}" dt="2021-02-02T13:30:23.617" v="350" actId="1076"/>
          <ac:spMkLst>
            <pc:docMk/>
            <pc:sldMk cId="2832050897" sldId="1124"/>
            <ac:spMk id="6" creationId="{45D50DC8-ABBB-41E5-ADB8-3ED2DBB38EE2}"/>
          </ac:spMkLst>
        </pc:spChg>
        <pc:spChg chg="mod">
          <ac:chgData name="Rautaporras Petteri" userId="d9004aa4-7491-43fa-b04f-4f6e300df2fa" providerId="ADAL" clId="{DE362A46-FCCA-4B04-BECA-B95882F25295}" dt="2021-02-02T13:29:05.966" v="264" actId="20577"/>
          <ac:spMkLst>
            <pc:docMk/>
            <pc:sldMk cId="2832050897" sldId="1124"/>
            <ac:spMk id="7" creationId="{3687ADC7-98F5-412F-B49B-43449BFC94B9}"/>
          </ac:spMkLst>
        </pc:spChg>
      </pc:sldChg>
      <pc:sldChg chg="modSp mod">
        <pc:chgData name="Rautaporras Petteri" userId="d9004aa4-7491-43fa-b04f-4f6e300df2fa" providerId="ADAL" clId="{DE362A46-FCCA-4B04-BECA-B95882F25295}" dt="2021-02-02T13:53:45.132" v="749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DE362A46-FCCA-4B04-BECA-B95882F25295}" dt="2021-02-02T13:53:45.132" v="749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953579450" sldId="2076137381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57627379" sldId="2076137405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742810181" sldId="2076137409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528384583" sldId="207613741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246037169" sldId="2076137424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2592693408" sldId="2076137427"/>
        </pc:sldMkLst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172206016" sldId="2076137430"/>
        </pc:sldMkLst>
      </pc:sldChg>
      <pc:sldChg chg="modSp mod">
        <pc:chgData name="Rautaporras Petteri" userId="d9004aa4-7491-43fa-b04f-4f6e300df2fa" providerId="ADAL" clId="{DE362A46-FCCA-4B04-BECA-B95882F25295}" dt="2021-02-02T12:43:40.188" v="47" actId="20577"/>
        <pc:sldMkLst>
          <pc:docMk/>
          <pc:sldMk cId="1005875025" sldId="2076137431"/>
        </pc:sldMkLst>
        <pc:spChg chg="mod">
          <ac:chgData name="Rautaporras Petteri" userId="d9004aa4-7491-43fa-b04f-4f6e300df2fa" providerId="ADAL" clId="{DE362A46-FCCA-4B04-BECA-B95882F25295}" dt="2021-02-02T12:43:40.188" v="47" actId="20577"/>
          <ac:spMkLst>
            <pc:docMk/>
            <pc:sldMk cId="1005875025" sldId="2076137431"/>
            <ac:spMk id="2" creationId="{1EA16522-6D7C-4EC7-AF1E-1A8A6FD7091A}"/>
          </ac:spMkLst>
        </pc:spChg>
      </pc:sldChg>
      <pc:sldChg chg="modSp del">
        <pc:chgData name="Rautaporras Petteri" userId="d9004aa4-7491-43fa-b04f-4f6e300df2fa" providerId="ADAL" clId="{DE362A46-FCCA-4B04-BECA-B95882F25295}" dt="2021-02-02T12:50:43.119" v="234" actId="47"/>
        <pc:sldMkLst>
          <pc:docMk/>
          <pc:sldMk cId="2192367370" sldId="2076137432"/>
        </pc:sldMkLst>
        <pc:graphicFrameChg chg="mod">
          <ac:chgData name="Rautaporras Petteri" userId="d9004aa4-7491-43fa-b04f-4f6e300df2fa" providerId="ADAL" clId="{DE362A46-FCCA-4B04-BECA-B95882F25295}" dt="2021-02-02T12:46:23.439" v="128"/>
          <ac:graphicFrameMkLst>
            <pc:docMk/>
            <pc:sldMk cId="2192367370" sldId="207613743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DE362A46-FCCA-4B04-BECA-B95882F25295}" dt="2021-02-02T13:28:15.778" v="239" actId="47"/>
        <pc:sldMkLst>
          <pc:docMk/>
          <pc:sldMk cId="3210992372" sldId="2076137433"/>
        </pc:sldMkLst>
      </pc:sldChg>
      <pc:sldChg chg="del">
        <pc:chgData name="Rautaporras Petteri" userId="d9004aa4-7491-43fa-b04f-4f6e300df2fa" providerId="ADAL" clId="{DE362A46-FCCA-4B04-BECA-B95882F25295}" dt="2021-02-02T13:05:47.366" v="238" actId="47"/>
        <pc:sldMkLst>
          <pc:docMk/>
          <pc:sldMk cId="2340591786" sldId="2076137434"/>
        </pc:sldMkLst>
      </pc:sldChg>
      <pc:sldMasterChg chg="delSldLayout">
        <pc:chgData name="Rautaporras Petteri" userId="d9004aa4-7491-43fa-b04f-4f6e300df2fa" providerId="ADAL" clId="{DE362A46-FCCA-4B04-BECA-B95882F25295}" dt="2021-02-02T13:28:15.778" v="239" actId="47"/>
        <pc:sldMasterMkLst>
          <pc:docMk/>
          <pc:sldMasterMk cId="729942253" sldId="2147483648"/>
        </pc:sldMasterMkLst>
        <pc:sldLayoutChg chg="del">
          <pc:chgData name="Rautaporras Petteri" userId="d9004aa4-7491-43fa-b04f-4f6e300df2fa" providerId="ADAL" clId="{DE362A46-FCCA-4B04-BECA-B95882F25295}" dt="2021-02-02T13:28:15.778" v="239" actId="47"/>
          <pc:sldLayoutMkLst>
            <pc:docMk/>
            <pc:sldMasterMk cId="729942253" sldId="2147483648"/>
            <pc:sldLayoutMk cId="1093377509" sldId="2147483718"/>
          </pc:sldLayoutMkLst>
        </pc:sldLayoutChg>
      </pc:sldMasterChg>
    </pc:docChg>
  </pc:docChgLst>
  <pc:docChgLst>
    <pc:chgData name="Rautaporras Petteri" userId="d9004aa4-7491-43fa-b04f-4f6e300df2fa" providerId="ADAL" clId="{7C9586CA-564D-4A87-8543-C3A70CFC5EEF}"/>
    <pc:docChg chg="undo custSel addSld delSld modSld">
      <pc:chgData name="Rautaporras Petteri" userId="d9004aa4-7491-43fa-b04f-4f6e300df2fa" providerId="ADAL" clId="{7C9586CA-564D-4A87-8543-C3A70CFC5EEF}" dt="2021-08-04T06:48:34.139" v="3362" actId="255"/>
      <pc:docMkLst>
        <pc:docMk/>
      </pc:docMkLst>
      <pc:sldChg chg="add">
        <pc:chgData name="Rautaporras Petteri" userId="d9004aa4-7491-43fa-b04f-4f6e300df2fa" providerId="ADAL" clId="{7C9586CA-564D-4A87-8543-C3A70CFC5EEF}" dt="2021-08-02T07:52:46.127" v="740"/>
        <pc:sldMkLst>
          <pc:docMk/>
          <pc:sldMk cId="3984870155" sldId="256"/>
        </pc:sldMkLst>
      </pc:sldChg>
      <pc:sldChg chg="del">
        <pc:chgData name="Rautaporras Petteri" userId="d9004aa4-7491-43fa-b04f-4f6e300df2fa" providerId="ADAL" clId="{7C9586CA-564D-4A87-8543-C3A70CFC5EEF}" dt="2021-08-02T10:33:04.721" v="1263" actId="47"/>
        <pc:sldMkLst>
          <pc:docMk/>
          <pc:sldMk cId="347492013" sldId="258"/>
        </pc:sldMkLst>
      </pc:sldChg>
      <pc:sldChg chg="modSp del">
        <pc:chgData name="Rautaporras Petteri" userId="d9004aa4-7491-43fa-b04f-4f6e300df2fa" providerId="ADAL" clId="{7C9586CA-564D-4A87-8543-C3A70CFC5EEF}" dt="2021-08-02T09:46:03.697" v="1168" actId="47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7C9586CA-564D-4A87-8543-C3A70CFC5EEF}" dt="2021-08-02T09:46:03.672" v="1167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add">
        <pc:chgData name="Rautaporras Petteri" userId="d9004aa4-7491-43fa-b04f-4f6e300df2fa" providerId="ADAL" clId="{7C9586CA-564D-4A87-8543-C3A70CFC5EEF}" dt="2021-08-03T11:48:55.392" v="2538"/>
        <pc:sldMkLst>
          <pc:docMk/>
          <pc:sldMk cId="299574909" sldId="272"/>
        </pc:sldMkLst>
        <pc:graphicFrameChg chg="mod">
          <ac:chgData name="Rautaporras Petteri" userId="d9004aa4-7491-43fa-b04f-4f6e300df2fa" providerId="ADAL" clId="{7C9586CA-564D-4A87-8543-C3A70CFC5EEF}" dt="2021-08-03T11:48:55.392" v="2538"/>
          <ac:graphicFrameMkLst>
            <pc:docMk/>
            <pc:sldMk cId="299574909" sldId="27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7C9586CA-564D-4A87-8543-C3A70CFC5EEF}" dt="2021-08-02T09:46:32.810" v="1174" actId="47"/>
        <pc:sldMkLst>
          <pc:docMk/>
          <pc:sldMk cId="2833165680" sldId="356"/>
        </pc:sldMkLst>
      </pc:sldChg>
      <pc:sldChg chg="del">
        <pc:chgData name="Rautaporras Petteri" userId="d9004aa4-7491-43fa-b04f-4f6e300df2fa" providerId="ADAL" clId="{7C9586CA-564D-4A87-8543-C3A70CFC5EEF}" dt="2021-08-02T09:46:27.095" v="1172" actId="47"/>
        <pc:sldMkLst>
          <pc:docMk/>
          <pc:sldMk cId="698580732" sldId="363"/>
        </pc:sldMkLst>
      </pc:sldChg>
      <pc:sldChg chg="del">
        <pc:chgData name="Rautaporras Petteri" userId="d9004aa4-7491-43fa-b04f-4f6e300df2fa" providerId="ADAL" clId="{7C9586CA-564D-4A87-8543-C3A70CFC5EEF}" dt="2021-08-02T08:24:51.941" v="742" actId="47"/>
        <pc:sldMkLst>
          <pc:docMk/>
          <pc:sldMk cId="3098896778" sldId="1046"/>
        </pc:sldMkLst>
      </pc:sldChg>
      <pc:sldChg chg="modSp add mod">
        <pc:chgData name="Rautaporras Petteri" userId="d9004aa4-7491-43fa-b04f-4f6e300df2fa" providerId="ADAL" clId="{7C9586CA-564D-4A87-8543-C3A70CFC5EEF}" dt="2021-08-03T11:39:56.481" v="2032" actId="20577"/>
        <pc:sldMkLst>
          <pc:docMk/>
          <pc:sldMk cId="1255078131" sldId="1051"/>
        </pc:sldMkLst>
        <pc:spChg chg="mod">
          <ac:chgData name="Rautaporras Petteri" userId="d9004aa4-7491-43fa-b04f-4f6e300df2fa" providerId="ADAL" clId="{7C9586CA-564D-4A87-8543-C3A70CFC5EEF}" dt="2021-08-03T11:39:56.481" v="2032" actId="20577"/>
          <ac:spMkLst>
            <pc:docMk/>
            <pc:sldMk cId="1255078131" sldId="1051"/>
            <ac:spMk id="6" creationId="{00000000-0000-0000-0000-000000000000}"/>
          </ac:spMkLst>
        </pc:spChg>
      </pc:sldChg>
      <pc:sldChg chg="modSp mod">
        <pc:chgData name="Rautaporras Petteri" userId="d9004aa4-7491-43fa-b04f-4f6e300df2fa" providerId="ADAL" clId="{7C9586CA-564D-4A87-8543-C3A70CFC5EEF}" dt="2021-08-04T06:47:35.600" v="3358" actId="255"/>
        <pc:sldMkLst>
          <pc:docMk/>
          <pc:sldMk cId="3607371377" sldId="1063"/>
        </pc:sldMkLst>
        <pc:spChg chg="mod">
          <ac:chgData name="Rautaporras Petteri" userId="d9004aa4-7491-43fa-b04f-4f6e300df2fa" providerId="ADAL" clId="{7C9586CA-564D-4A87-8543-C3A70CFC5EEF}" dt="2021-08-04T06:47:35.600" v="3358" actId="255"/>
          <ac:spMkLst>
            <pc:docMk/>
            <pc:sldMk cId="3607371377" sldId="1063"/>
            <ac:spMk id="2" creationId="{50FC3B40-AC30-46E2-BCAD-E388935D70C2}"/>
          </ac:spMkLst>
        </pc:spChg>
      </pc:sldChg>
      <pc:sldChg chg="del">
        <pc:chgData name="Rautaporras Petteri" userId="d9004aa4-7491-43fa-b04f-4f6e300df2fa" providerId="ADAL" clId="{7C9586CA-564D-4A87-8543-C3A70CFC5EEF}" dt="2021-08-03T11:38:30.986" v="1998" actId="47"/>
        <pc:sldMkLst>
          <pc:docMk/>
          <pc:sldMk cId="3461487886" sldId="1065"/>
        </pc:sldMkLst>
      </pc:sldChg>
      <pc:sldChg chg="del">
        <pc:chgData name="Rautaporras Petteri" userId="d9004aa4-7491-43fa-b04f-4f6e300df2fa" providerId="ADAL" clId="{7C9586CA-564D-4A87-8543-C3A70CFC5EEF}" dt="2021-08-02T09:46:29.615" v="1173" actId="47"/>
        <pc:sldMkLst>
          <pc:docMk/>
          <pc:sldMk cId="3421334924" sldId="1067"/>
        </pc:sldMkLst>
      </pc:sldChg>
      <pc:sldChg chg="modSp add mod">
        <pc:chgData name="Rautaporras Petteri" userId="d9004aa4-7491-43fa-b04f-4f6e300df2fa" providerId="ADAL" clId="{7C9586CA-564D-4A87-8543-C3A70CFC5EEF}" dt="2021-08-04T06:48:09.789" v="3361" actId="255"/>
        <pc:sldMkLst>
          <pc:docMk/>
          <pc:sldMk cId="1166976421" sldId="1068"/>
        </pc:sldMkLst>
        <pc:spChg chg="mod">
          <ac:chgData name="Rautaporras Petteri" userId="d9004aa4-7491-43fa-b04f-4f6e300df2fa" providerId="ADAL" clId="{7C9586CA-564D-4A87-8543-C3A70CFC5EEF}" dt="2021-08-04T06:48:09.789" v="3361" actId="255"/>
          <ac:spMkLst>
            <pc:docMk/>
            <pc:sldMk cId="1166976421" sldId="1068"/>
            <ac:spMk id="2" creationId="{00000000-0000-0000-0000-000000000000}"/>
          </ac:spMkLst>
        </pc:spChg>
      </pc:sldChg>
      <pc:sldChg chg="modSp mod">
        <pc:chgData name="Rautaporras Petteri" userId="d9004aa4-7491-43fa-b04f-4f6e300df2fa" providerId="ADAL" clId="{7C9586CA-564D-4A87-8543-C3A70CFC5EEF}" dt="2021-08-04T06:48:34.139" v="3362" actId="255"/>
        <pc:sldMkLst>
          <pc:docMk/>
          <pc:sldMk cId="929075840" sldId="1075"/>
        </pc:sldMkLst>
        <pc:spChg chg="mod">
          <ac:chgData name="Rautaporras Petteri" userId="d9004aa4-7491-43fa-b04f-4f6e300df2fa" providerId="ADAL" clId="{7C9586CA-564D-4A87-8543-C3A70CFC5EEF}" dt="2021-08-04T06:48:34.139" v="3362" actId="255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Rautaporras Petteri" userId="d9004aa4-7491-43fa-b04f-4f6e300df2fa" providerId="ADAL" clId="{7C9586CA-564D-4A87-8543-C3A70CFC5EEF}" dt="2021-08-04T05:17:23.042" v="3262" actId="1076"/>
        <pc:sldMkLst>
          <pc:docMk/>
          <pc:sldMk cId="2573167509" sldId="1104"/>
        </pc:sldMkLst>
        <pc:spChg chg="mod">
          <ac:chgData name="Rautaporras Petteri" userId="d9004aa4-7491-43fa-b04f-4f6e300df2fa" providerId="ADAL" clId="{7C9586CA-564D-4A87-8543-C3A70CFC5EEF}" dt="2021-08-04T05:17:23.042" v="3262" actId="1076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7C9586CA-564D-4A87-8543-C3A70CFC5EEF}" dt="2021-08-02T07:52:02.012" v="739" actId="20577"/>
        <pc:sldMkLst>
          <pc:docMk/>
          <pc:sldMk cId="2272776827" sldId="1117"/>
        </pc:sldMkLst>
        <pc:spChg chg="mod">
          <ac:chgData name="Rautaporras Petteri" userId="d9004aa4-7491-43fa-b04f-4f6e300df2fa" providerId="ADAL" clId="{7C9586CA-564D-4A87-8543-C3A70CFC5EEF}" dt="2021-08-02T07:52:02.012" v="739" actId="20577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d9004aa4-7491-43fa-b04f-4f6e300df2fa" providerId="ADAL" clId="{7C9586CA-564D-4A87-8543-C3A70CFC5EEF}" dt="2021-08-04T06:47:48.582" v="3359" actId="255"/>
        <pc:sldMkLst>
          <pc:docMk/>
          <pc:sldMk cId="3588709971" sldId="1118"/>
        </pc:sldMkLst>
        <pc:spChg chg="mod">
          <ac:chgData name="Rautaporras Petteri" userId="d9004aa4-7491-43fa-b04f-4f6e300df2fa" providerId="ADAL" clId="{7C9586CA-564D-4A87-8543-C3A70CFC5EEF}" dt="2021-08-04T06:47:48.582" v="3359" actId="255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7C9586CA-564D-4A87-8543-C3A70CFC5EEF}" dt="2021-08-03T11:43:25.803" v="2181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mod">
        <pc:chgData name="Rautaporras Petteri" userId="d9004aa4-7491-43fa-b04f-4f6e300df2fa" providerId="ADAL" clId="{7C9586CA-564D-4A87-8543-C3A70CFC5EEF}" dt="2021-08-04T05:22:57.362" v="3344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7C9586CA-564D-4A87-8543-C3A70CFC5EEF}" dt="2021-08-04T05:22:57.362" v="3344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del">
        <pc:chgData name="Rautaporras Petteri" userId="d9004aa4-7491-43fa-b04f-4f6e300df2fa" providerId="ADAL" clId="{7C9586CA-564D-4A87-8543-C3A70CFC5EEF}" dt="2021-08-02T08:20:59.745" v="741" actId="47"/>
        <pc:sldMkLst>
          <pc:docMk/>
          <pc:sldMk cId="1005875025" sldId="2076137431"/>
        </pc:sldMkLst>
      </pc:sldChg>
      <pc:sldChg chg="modSp del">
        <pc:chgData name="Rautaporras Petteri" userId="d9004aa4-7491-43fa-b04f-4f6e300df2fa" providerId="ADAL" clId="{7C9586CA-564D-4A87-8543-C3A70CFC5EEF}" dt="2021-08-02T09:46:24.141" v="1171" actId="47"/>
        <pc:sldMkLst>
          <pc:docMk/>
          <pc:sldMk cId="2192367370" sldId="2076137432"/>
        </pc:sldMkLst>
        <pc:graphicFrameChg chg="mod">
          <ac:chgData name="Rautaporras Petteri" userId="d9004aa4-7491-43fa-b04f-4f6e300df2fa" providerId="ADAL" clId="{7C9586CA-564D-4A87-8543-C3A70CFC5EEF}" dt="2021-08-02T09:46:24.114" v="1170"/>
          <ac:graphicFrameMkLst>
            <pc:docMk/>
            <pc:sldMk cId="2192367370" sldId="2076137432"/>
            <ac:graphicFrameMk id="12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7C9586CA-564D-4A87-8543-C3A70CFC5EEF}" dt="2021-08-03T11:37:54.646" v="1993" actId="47"/>
        <pc:sldMkLst>
          <pc:docMk/>
          <pc:sldMk cId="743890610" sldId="2076137433"/>
        </pc:sldMkLst>
      </pc:sldChg>
      <pc:sldChg chg="del">
        <pc:chgData name="Rautaporras Petteri" userId="d9004aa4-7491-43fa-b04f-4f6e300df2fa" providerId="ADAL" clId="{7C9586CA-564D-4A87-8543-C3A70CFC5EEF}" dt="2021-08-03T11:38:38.473" v="2000" actId="47"/>
        <pc:sldMkLst>
          <pc:docMk/>
          <pc:sldMk cId="3005809879" sldId="2076137435"/>
        </pc:sldMkLst>
      </pc:sldChg>
      <pc:sldChg chg="del">
        <pc:chgData name="Rautaporras Petteri" userId="d9004aa4-7491-43fa-b04f-4f6e300df2fa" providerId="ADAL" clId="{7C9586CA-564D-4A87-8543-C3A70CFC5EEF}" dt="2021-08-03T11:39:12.307" v="2002" actId="47"/>
        <pc:sldMkLst>
          <pc:docMk/>
          <pc:sldMk cId="800762062" sldId="2076137436"/>
        </pc:sldMkLst>
      </pc:sldChg>
      <pc:sldChg chg="modSp del mod">
        <pc:chgData name="Rautaporras Petteri" userId="d9004aa4-7491-43fa-b04f-4f6e300df2fa" providerId="ADAL" clId="{7C9586CA-564D-4A87-8543-C3A70CFC5EEF}" dt="2021-08-02T09:54:26.592" v="1262" actId="47"/>
        <pc:sldMkLst>
          <pc:docMk/>
          <pc:sldMk cId="858822830" sldId="2076137437"/>
        </pc:sldMkLst>
        <pc:spChg chg="mod">
          <ac:chgData name="Rautaporras Petteri" userId="d9004aa4-7491-43fa-b04f-4f6e300df2fa" providerId="ADAL" clId="{7C9586CA-564D-4A87-8543-C3A70CFC5EEF}" dt="2021-08-02T09:47:27.707" v="1258" actId="20577"/>
          <ac:spMkLst>
            <pc:docMk/>
            <pc:sldMk cId="858822830" sldId="2076137437"/>
            <ac:spMk id="2" creationId="{6FA92EF3-6881-400B-A823-C1DF95ACB69E}"/>
          </ac:spMkLst>
        </pc:spChg>
        <pc:spChg chg="mod">
          <ac:chgData name="Rautaporras Petteri" userId="d9004aa4-7491-43fa-b04f-4f6e300df2fa" providerId="ADAL" clId="{7C9586CA-564D-4A87-8543-C3A70CFC5EEF}" dt="2021-08-02T09:54:20.374" v="1261" actId="20577"/>
          <ac:spMkLst>
            <pc:docMk/>
            <pc:sldMk cId="858822830" sldId="2076137437"/>
            <ac:spMk id="6" creationId="{26680B02-E3ED-48E7-BF93-F964DC93B53B}"/>
          </ac:spMkLst>
        </pc:spChg>
      </pc:sldChg>
      <pc:sldChg chg="add">
        <pc:chgData name="Rautaporras Petteri" userId="d9004aa4-7491-43fa-b04f-4f6e300df2fa" providerId="ADAL" clId="{7C9586CA-564D-4A87-8543-C3A70CFC5EEF}" dt="2021-08-03T11:38:28.334" v="1997"/>
        <pc:sldMkLst>
          <pc:docMk/>
          <pc:sldMk cId="3164595974" sldId="2076137437"/>
        </pc:sldMkLst>
      </pc:sldChg>
      <pc:sldChg chg="modSp add mod">
        <pc:chgData name="Rautaporras Petteri" userId="d9004aa4-7491-43fa-b04f-4f6e300df2fa" providerId="ADAL" clId="{7C9586CA-564D-4A87-8543-C3A70CFC5EEF}" dt="2021-08-04T06:48:03.207" v="3360" actId="255"/>
        <pc:sldMkLst>
          <pc:docMk/>
          <pc:sldMk cId="2829966302" sldId="2076137438"/>
        </pc:sldMkLst>
        <pc:spChg chg="mod">
          <ac:chgData name="Rautaporras Petteri" userId="d9004aa4-7491-43fa-b04f-4f6e300df2fa" providerId="ADAL" clId="{7C9586CA-564D-4A87-8543-C3A70CFC5EEF}" dt="2021-08-04T06:48:03.207" v="3360" actId="255"/>
          <ac:spMkLst>
            <pc:docMk/>
            <pc:sldMk cId="2829966302" sldId="2076137438"/>
            <ac:spMk id="2" creationId="{00000000-0000-0000-0000-000000000000}"/>
          </ac:spMkLst>
        </pc:spChg>
        <pc:graphicFrameChg chg="modGraphic">
          <ac:chgData name="Rautaporras Petteri" userId="d9004aa4-7491-43fa-b04f-4f6e300df2fa" providerId="ADAL" clId="{7C9586CA-564D-4A87-8543-C3A70CFC5EEF}" dt="2021-08-03T18:16:09.840" v="3035" actId="14734"/>
          <ac:graphicFrameMkLst>
            <pc:docMk/>
            <pc:sldMk cId="2829966302" sldId="2076137438"/>
            <ac:graphicFrameMk id="14" creationId="{8AD21D0F-9B6A-4E23-A81A-E23C9B1E89C1}"/>
          </ac:graphicFrameMkLst>
        </pc:graphicFrameChg>
        <pc:graphicFrameChg chg="mod">
          <ac:chgData name="Rautaporras Petteri" userId="d9004aa4-7491-43fa-b04f-4f6e300df2fa" providerId="ADAL" clId="{7C9586CA-564D-4A87-8543-C3A70CFC5EEF}" dt="2021-08-03T18:16:12.398" v="3036"/>
          <ac:graphicFrameMkLst>
            <pc:docMk/>
            <pc:sldMk cId="2829966302" sldId="2076137438"/>
            <ac:graphicFrameMk id="25" creationId="{00000000-0000-0000-0000-000000000000}"/>
          </ac:graphicFrameMkLst>
        </pc:graphicFrameChg>
      </pc:sldChg>
      <pc:sldChg chg="modSp new del mod">
        <pc:chgData name="Rautaporras Petteri" userId="d9004aa4-7491-43fa-b04f-4f6e300df2fa" providerId="ADAL" clId="{7C9586CA-564D-4A87-8543-C3A70CFC5EEF}" dt="2021-08-04T05:28:14.019" v="3345" actId="47"/>
        <pc:sldMkLst>
          <pc:docMk/>
          <pc:sldMk cId="720751863" sldId="2076137439"/>
        </pc:sldMkLst>
        <pc:spChg chg="mod">
          <ac:chgData name="Rautaporras Petteri" userId="d9004aa4-7491-43fa-b04f-4f6e300df2fa" providerId="ADAL" clId="{7C9586CA-564D-4A87-8543-C3A70CFC5EEF}" dt="2021-08-03T17:47:41.370" v="3033" actId="20577"/>
          <ac:spMkLst>
            <pc:docMk/>
            <pc:sldMk cId="720751863" sldId="2076137439"/>
            <ac:spMk id="6" creationId="{3C97234C-11BA-419C-AC2A-79CCD2AA14B0}"/>
          </ac:spMkLst>
        </pc:spChg>
      </pc:sldChg>
    </pc:docChg>
  </pc:docChgLst>
  <pc:docChgLst>
    <pc:chgData name="Rautaporras Petteri" userId="d9004aa4-7491-43fa-b04f-4f6e300df2fa" providerId="ADAL" clId="{EF2E8D5A-BFC8-4880-AFEB-1BC62E57649F}"/>
    <pc:docChg chg="undo custSel addSld delSld modSld sldOrd">
      <pc:chgData name="Rautaporras Petteri" userId="d9004aa4-7491-43fa-b04f-4f6e300df2fa" providerId="ADAL" clId="{EF2E8D5A-BFC8-4880-AFEB-1BC62E57649F}" dt="2021-04-28T06:02:50.029" v="3061" actId="20577"/>
      <pc:docMkLst>
        <pc:docMk/>
      </pc:docMkLst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347492013" sldId="258"/>
        </pc:sldMkLst>
      </pc:sldChg>
      <pc:sldChg chg="add del">
        <pc:chgData name="Rautaporras Petteri" userId="d9004aa4-7491-43fa-b04f-4f6e300df2fa" providerId="ADAL" clId="{EF2E8D5A-BFC8-4880-AFEB-1BC62E57649F}" dt="2021-04-26T12:59:23.145" v="216" actId="47"/>
        <pc:sldMkLst>
          <pc:docMk/>
          <pc:sldMk cId="2510371092" sldId="266"/>
        </pc:sldMkLst>
      </pc:sldChg>
      <pc:sldChg chg="modSp ord">
        <pc:chgData name="Rautaporras Petteri" userId="d9004aa4-7491-43fa-b04f-4f6e300df2fa" providerId="ADAL" clId="{EF2E8D5A-BFC8-4880-AFEB-1BC62E57649F}" dt="2021-04-26T12:59:29.288" v="220"/>
        <pc:sldMkLst>
          <pc:docMk/>
          <pc:sldMk cId="2114849149" sldId="271"/>
        </pc:sldMkLst>
        <pc:graphicFrameChg chg="mod">
          <ac:chgData name="Rautaporras Petteri" userId="d9004aa4-7491-43fa-b04f-4f6e300df2fa" providerId="ADAL" clId="{EF2E8D5A-BFC8-4880-AFEB-1BC62E57649F}" dt="2021-04-26T12:47:12.302" v="210"/>
          <ac:graphicFrameMkLst>
            <pc:docMk/>
            <pc:sldMk cId="2114849149" sldId="271"/>
            <ac:graphicFrameMk id="9" creationId="{00000000-0000-0000-0000-000000000000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26.631" v="218" actId="47"/>
        <pc:sldMkLst>
          <pc:docMk/>
          <pc:sldMk cId="234392101" sldId="283"/>
        </pc:sldMkLst>
        <pc:graphicFrameChg chg="mod">
          <ac:chgData name="Rautaporras Petteri" userId="d9004aa4-7491-43fa-b04f-4f6e300df2fa" providerId="ADAL" clId="{EF2E8D5A-BFC8-4880-AFEB-1BC62E57649F}" dt="2021-04-26T12:59:26.613" v="217"/>
          <ac:graphicFrameMkLst>
            <pc:docMk/>
            <pc:sldMk cId="234392101" sldId="283"/>
            <ac:graphicFrameMk id="18" creationId="{5C0EBE92-AFAE-40A8-9E3C-F54339200160}"/>
          </ac:graphicFrameMkLst>
        </pc:graphicFrameChg>
      </pc:sldChg>
      <pc:sldChg chg="modSp add mod">
        <pc:chgData name="Rautaporras Petteri" userId="d9004aa4-7491-43fa-b04f-4f6e300df2fa" providerId="ADAL" clId="{EF2E8D5A-BFC8-4880-AFEB-1BC62E57649F}" dt="2021-04-26T13:06:21.580" v="335" actId="1076"/>
        <pc:sldMkLst>
          <pc:docMk/>
          <pc:sldMk cId="2833165680" sldId="356"/>
        </pc:sldMkLst>
        <pc:spChg chg="mod">
          <ac:chgData name="Rautaporras Petteri" userId="d9004aa4-7491-43fa-b04f-4f6e300df2fa" providerId="ADAL" clId="{EF2E8D5A-BFC8-4880-AFEB-1BC62E57649F}" dt="2021-04-26T13:06:21.580" v="335" actId="1076"/>
          <ac:spMkLst>
            <pc:docMk/>
            <pc:sldMk cId="2833165680" sldId="356"/>
            <ac:spMk id="8" creationId="{03A6E3B0-5FBD-4EC6-893B-FFB382725403}"/>
          </ac:spMkLst>
        </pc:spChg>
      </pc:sldChg>
      <pc:sldChg chg="modSp add mod">
        <pc:chgData name="Rautaporras Petteri" userId="d9004aa4-7491-43fa-b04f-4f6e300df2fa" providerId="ADAL" clId="{EF2E8D5A-BFC8-4880-AFEB-1BC62E57649F}" dt="2021-04-26T13:06:11.068" v="333" actId="1076"/>
        <pc:sldMkLst>
          <pc:docMk/>
          <pc:sldMk cId="698580732" sldId="363"/>
        </pc:sldMkLst>
        <pc:spChg chg="mod">
          <ac:chgData name="Rautaporras Petteri" userId="d9004aa4-7491-43fa-b04f-4f6e300df2fa" providerId="ADAL" clId="{EF2E8D5A-BFC8-4880-AFEB-1BC62E57649F}" dt="2021-04-26T13:06:11.068" v="333" actId="1076"/>
          <ac:spMkLst>
            <pc:docMk/>
            <pc:sldMk cId="698580732" sldId="363"/>
            <ac:spMk id="14" creationId="{65054603-5EDB-48DD-ABBD-118DA9B3A626}"/>
          </ac:spMkLst>
        </pc:spChg>
      </pc:sldChg>
      <pc:sldChg chg="addSp modSp add del mod">
        <pc:chgData name="Rautaporras Petteri" userId="d9004aa4-7491-43fa-b04f-4f6e300df2fa" providerId="ADAL" clId="{EF2E8D5A-BFC8-4880-AFEB-1BC62E57649F}" dt="2021-04-27T05:02:04.625" v="337" actId="47"/>
        <pc:sldMkLst>
          <pc:docMk/>
          <pc:sldMk cId="3098896778" sldId="1046"/>
        </pc:sldMkLst>
        <pc:spChg chg="add mod">
          <ac:chgData name="Rautaporras Petteri" userId="d9004aa4-7491-43fa-b04f-4f6e300df2fa" providerId="ADAL" clId="{EF2E8D5A-BFC8-4880-AFEB-1BC62E57649F}" dt="2021-04-26T12:46:16.580" v="201" actId="122"/>
          <ac:spMkLst>
            <pc:docMk/>
            <pc:sldMk cId="3098896778" sldId="1046"/>
            <ac:spMk id="2" creationId="{B2F33495-F554-4D35-AB1A-A31F95B2B096}"/>
          </ac:spMkLst>
        </pc:spChg>
        <pc:spChg chg="mod">
          <ac:chgData name="Rautaporras Petteri" userId="d9004aa4-7491-43fa-b04f-4f6e300df2fa" providerId="ADAL" clId="{EF2E8D5A-BFC8-4880-AFEB-1BC62E57649F}" dt="2021-04-26T12:36:51.679" v="103" actId="20577"/>
          <ac:spMkLst>
            <pc:docMk/>
            <pc:sldMk cId="3098896778" sldId="1046"/>
            <ac:spMk id="10" creationId="{00000000-0000-0000-0000-000000000000}"/>
          </ac:spMkLst>
        </pc:spChg>
        <pc:spChg chg="add mod">
          <ac:chgData name="Rautaporras Petteri" userId="d9004aa4-7491-43fa-b04f-4f6e300df2fa" providerId="ADAL" clId="{EF2E8D5A-BFC8-4880-AFEB-1BC62E57649F}" dt="2021-04-26T12:46:45.868" v="205" actId="571"/>
          <ac:spMkLst>
            <pc:docMk/>
            <pc:sldMk cId="3098896778" sldId="1046"/>
            <ac:spMk id="38" creationId="{94ECD6A5-8757-4AE7-A7F4-F3E4ED8371C1}"/>
          </ac:spMkLst>
        </pc:spChg>
        <pc:spChg chg="mod">
          <ac:chgData name="Rautaporras Petteri" userId="d9004aa4-7491-43fa-b04f-4f6e300df2fa" providerId="ADAL" clId="{EF2E8D5A-BFC8-4880-AFEB-1BC62E57649F}" dt="2021-04-26T12:42:33.444" v="165" actId="14100"/>
          <ac:spMkLst>
            <pc:docMk/>
            <pc:sldMk cId="3098896778" sldId="1046"/>
            <ac:spMk id="20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51.101" v="137" actId="122"/>
          <ac:spMkLst>
            <pc:docMk/>
            <pc:sldMk cId="3098896778" sldId="1046"/>
            <ac:spMk id="20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9.126" v="136" actId="122"/>
          <ac:spMkLst>
            <pc:docMk/>
            <pc:sldMk cId="3098896778" sldId="1046"/>
            <ac:spMk id="20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23.130" v="125" actId="1076"/>
          <ac:spMkLst>
            <pc:docMk/>
            <pc:sldMk cId="3098896778" sldId="1046"/>
            <ac:spMk id="20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8:46.510" v="135" actId="122"/>
          <ac:spMkLst>
            <pc:docMk/>
            <pc:sldMk cId="3098896778" sldId="1046"/>
            <ac:spMk id="20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34.716" v="204" actId="14100"/>
          <ac:spMkLst>
            <pc:docMk/>
            <pc:sldMk cId="3098896778" sldId="1046"/>
            <ac:spMk id="21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13.268" v="148" actId="207"/>
          <ac:spMkLst>
            <pc:docMk/>
            <pc:sldMk cId="3098896778" sldId="1046"/>
            <ac:spMk id="21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2:23.627" v="164" actId="14100"/>
          <ac:spMkLst>
            <pc:docMk/>
            <pc:sldMk cId="3098896778" sldId="1046"/>
            <ac:spMk id="21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56.409" v="112" actId="1076"/>
          <ac:spMkLst>
            <pc:docMk/>
            <pc:sldMk cId="3098896778" sldId="1046"/>
            <ac:spMk id="21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2.189" v="172" actId="1076"/>
          <ac:spMkLst>
            <pc:docMk/>
            <pc:sldMk cId="3098896778" sldId="1046"/>
            <ac:spMk id="216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17.253" v="169" actId="1076"/>
          <ac:spMkLst>
            <pc:docMk/>
            <pc:sldMk cId="3098896778" sldId="1046"/>
            <ac:spMk id="217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20.141" v="170" actId="1076"/>
          <ac:spMkLst>
            <pc:docMk/>
            <pc:sldMk cId="3098896778" sldId="1046"/>
            <ac:spMk id="218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37.470" v="173" actId="14100"/>
          <ac:spMkLst>
            <pc:docMk/>
            <pc:sldMk cId="3098896778" sldId="1046"/>
            <ac:spMk id="21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7:35.174" v="108" actId="207"/>
          <ac:spMkLst>
            <pc:docMk/>
            <pc:sldMk cId="3098896778" sldId="1046"/>
            <ac:spMk id="220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1:48.098" v="160" actId="1076"/>
          <ac:spMkLst>
            <pc:docMk/>
            <pc:sldMk cId="3098896778" sldId="1046"/>
            <ac:spMk id="221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3:53.238" v="177" actId="1076"/>
          <ac:spMkLst>
            <pc:docMk/>
            <pc:sldMk cId="3098896778" sldId="1046"/>
            <ac:spMk id="222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03.254" v="181" actId="1076"/>
          <ac:spMkLst>
            <pc:docMk/>
            <pc:sldMk cId="3098896778" sldId="1046"/>
            <ac:spMk id="223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4:34.231" v="192" actId="1076"/>
          <ac:spMkLst>
            <pc:docMk/>
            <pc:sldMk cId="3098896778" sldId="1046"/>
            <ac:spMk id="224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6:26.887" v="203" actId="208"/>
          <ac:spMkLst>
            <pc:docMk/>
            <pc:sldMk cId="3098896778" sldId="1046"/>
            <ac:spMk id="225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47:01.035" v="206" actId="1076"/>
          <ac:spMkLst>
            <pc:docMk/>
            <pc:sldMk cId="3098896778" sldId="1046"/>
            <ac:spMk id="229" creationId="{00000000-0000-0000-0000-000000000000}"/>
          </ac:spMkLst>
        </pc:spChg>
        <pc:spChg chg="mod">
          <ac:chgData name="Rautaporras Petteri" userId="d9004aa4-7491-43fa-b04f-4f6e300df2fa" providerId="ADAL" clId="{EF2E8D5A-BFC8-4880-AFEB-1BC62E57649F}" dt="2021-04-26T12:39:29.684" v="155" actId="1076"/>
          <ac:spMkLst>
            <pc:docMk/>
            <pc:sldMk cId="3098896778" sldId="1046"/>
            <ac:spMk id="231" creationId="{00000000-0000-0000-0000-000000000000}"/>
          </ac:spMkLst>
        </pc:spChg>
        <pc:graphicFrameChg chg="mod">
          <ac:chgData name="Rautaporras Petteri" userId="d9004aa4-7491-43fa-b04f-4f6e300df2fa" providerId="ADAL" clId="{EF2E8D5A-BFC8-4880-AFEB-1BC62E57649F}" dt="2021-04-26T12:33:57.837" v="48" actId="692"/>
          <ac:graphicFrameMkLst>
            <pc:docMk/>
            <pc:sldMk cId="3098896778" sldId="1046"/>
            <ac:graphicFrameMk id="200" creationId="{00000000-0000-0000-0000-000000000000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1:49.411" v="228" actId="47"/>
        <pc:sldMkLst>
          <pc:docMk/>
          <pc:sldMk cId="1255078131" sldId="1051"/>
        </pc:sldMkLst>
      </pc:sldChg>
      <pc:sldChg chg="del">
        <pc:chgData name="Rautaporras Petteri" userId="d9004aa4-7491-43fa-b04f-4f6e300df2fa" providerId="ADAL" clId="{EF2E8D5A-BFC8-4880-AFEB-1BC62E57649F}" dt="2021-04-26T13:02:19.725" v="234" actId="47"/>
        <pc:sldMkLst>
          <pc:docMk/>
          <pc:sldMk cId="1680971455" sldId="1054"/>
        </pc:sldMkLst>
      </pc:sldChg>
      <pc:sldChg chg="modSp mod">
        <pc:chgData name="Rautaporras Petteri" userId="d9004aa4-7491-43fa-b04f-4f6e300df2fa" providerId="ADAL" clId="{EF2E8D5A-BFC8-4880-AFEB-1BC62E57649F}" dt="2021-04-26T12:06:08.498" v="4" actId="20577"/>
        <pc:sldMkLst>
          <pc:docMk/>
          <pc:sldMk cId="3607371377" sldId="1063"/>
        </pc:sldMkLst>
        <pc:spChg chg="mod">
          <ac:chgData name="Rautaporras Petteri" userId="d9004aa4-7491-43fa-b04f-4f6e300df2fa" providerId="ADAL" clId="{EF2E8D5A-BFC8-4880-AFEB-1BC62E57649F}" dt="2021-04-26T12:06:08.498" v="4" actId="20577"/>
          <ac:spMkLst>
            <pc:docMk/>
            <pc:sldMk cId="3607371377" sldId="1063"/>
            <ac:spMk id="2" creationId="{50FC3B40-AC30-46E2-BCAD-E388935D70C2}"/>
          </ac:spMkLst>
        </pc:spChg>
      </pc:sldChg>
      <pc:sldChg chg="modSp add del mod">
        <pc:chgData name="Rautaporras Petteri" userId="d9004aa4-7491-43fa-b04f-4f6e300df2fa" providerId="ADAL" clId="{EF2E8D5A-BFC8-4880-AFEB-1BC62E57649F}" dt="2021-04-27T19:23:45.951" v="2713" actId="20577"/>
        <pc:sldMkLst>
          <pc:docMk/>
          <pc:sldMk cId="3461487886" sldId="1065"/>
        </pc:sldMkLst>
        <pc:graphicFrameChg chg="modGraphic">
          <ac:chgData name="Rautaporras Petteri" userId="d9004aa4-7491-43fa-b04f-4f6e300df2fa" providerId="ADAL" clId="{EF2E8D5A-BFC8-4880-AFEB-1BC62E57649F}" dt="2021-04-27T19:23:45.951" v="2713" actId="20577"/>
          <ac:graphicFrameMkLst>
            <pc:docMk/>
            <pc:sldMk cId="3461487886" sldId="1065"/>
            <ac:graphicFrameMk id="25" creationId="{00000000-0000-0000-0000-000000000000}"/>
          </ac:graphicFrameMkLst>
        </pc:graphicFrameChg>
      </pc:sldChg>
      <pc:sldChg chg="add">
        <pc:chgData name="Rautaporras Petteri" userId="d9004aa4-7491-43fa-b04f-4f6e300df2fa" providerId="ADAL" clId="{EF2E8D5A-BFC8-4880-AFEB-1BC62E57649F}" dt="2021-04-26T13:01:20.289" v="225"/>
        <pc:sldMkLst>
          <pc:docMk/>
          <pc:sldMk cId="3421334924" sldId="1067"/>
        </pc:sldMkLst>
      </pc:sldChg>
      <pc:sldChg chg="del">
        <pc:chgData name="Rautaporras Petteri" userId="d9004aa4-7491-43fa-b04f-4f6e300df2fa" providerId="ADAL" clId="{EF2E8D5A-BFC8-4880-AFEB-1BC62E57649F}" dt="2021-04-26T13:04:22.061" v="332" actId="47"/>
        <pc:sldMkLst>
          <pc:docMk/>
          <pc:sldMk cId="3926641037" sldId="1068"/>
        </pc:sldMkLst>
      </pc:sldChg>
      <pc:sldChg chg="modSp mod">
        <pc:chgData name="Rautaporras Petteri" userId="d9004aa4-7491-43fa-b04f-4f6e300df2fa" providerId="ADAL" clId="{EF2E8D5A-BFC8-4880-AFEB-1BC62E57649F}" dt="2021-04-28T05:53:01.442" v="3021" actId="20577"/>
        <pc:sldMkLst>
          <pc:docMk/>
          <pc:sldMk cId="929075840" sldId="1075"/>
        </pc:sldMkLst>
        <pc:spChg chg="mod">
          <ac:chgData name="Rautaporras Petteri" userId="d9004aa4-7491-43fa-b04f-4f6e300df2fa" providerId="ADAL" clId="{EF2E8D5A-BFC8-4880-AFEB-1BC62E57649F}" dt="2021-04-28T05:53:01.442" v="3021" actId="20577"/>
          <ac:spMkLst>
            <pc:docMk/>
            <pc:sldMk cId="929075840" sldId="1075"/>
            <ac:spMk id="2" creationId="{40907C84-4663-4DC6-B126-256840B87413}"/>
          </ac:spMkLst>
        </pc:spChg>
      </pc:sldChg>
      <pc:sldChg chg="modSp del mod">
        <pc:chgData name="Rautaporras Petteri" userId="d9004aa4-7491-43fa-b04f-4f6e300df2fa" providerId="ADAL" clId="{EF2E8D5A-BFC8-4880-AFEB-1BC62E57649F}" dt="2021-04-28T05:52:56.374" v="3020" actId="47"/>
        <pc:sldMkLst>
          <pc:docMk/>
          <pc:sldMk cId="3128374377" sldId="1076"/>
        </pc:sldMkLst>
        <pc:spChg chg="mod">
          <ac:chgData name="Rautaporras Petteri" userId="d9004aa4-7491-43fa-b04f-4f6e300df2fa" providerId="ADAL" clId="{EF2E8D5A-BFC8-4880-AFEB-1BC62E57649F}" dt="2021-04-28T05:52:23.709" v="2968" actId="20577"/>
          <ac:spMkLst>
            <pc:docMk/>
            <pc:sldMk cId="3128374377" sldId="1076"/>
            <ac:spMk id="2" creationId="{E434BD08-68AA-49E7-8874-B33FEC000256}"/>
          </ac:spMkLst>
        </pc:spChg>
      </pc:sldChg>
      <pc:sldChg chg="modSp mod">
        <pc:chgData name="Rautaporras Petteri" userId="d9004aa4-7491-43fa-b04f-4f6e300df2fa" providerId="ADAL" clId="{EF2E8D5A-BFC8-4880-AFEB-1BC62E57649F}" dt="2021-04-28T06:02:50.029" v="3061" actId="20577"/>
        <pc:sldMkLst>
          <pc:docMk/>
          <pc:sldMk cId="2573167509" sldId="1104"/>
        </pc:sldMkLst>
        <pc:spChg chg="mod">
          <ac:chgData name="Rautaporras Petteri" userId="d9004aa4-7491-43fa-b04f-4f6e300df2fa" providerId="ADAL" clId="{EF2E8D5A-BFC8-4880-AFEB-1BC62E57649F}" dt="2021-04-28T06:02:50.029" v="3061" actId="20577"/>
          <ac:spMkLst>
            <pc:docMk/>
            <pc:sldMk cId="2573167509" sldId="1104"/>
            <ac:spMk id="2" creationId="{4BB0440D-C81A-46A2-A992-15D38EB5099C}"/>
          </ac:spMkLst>
        </pc:spChg>
      </pc:sldChg>
      <pc:sldChg chg="modSp mod">
        <pc:chgData name="Rautaporras Petteri" userId="d9004aa4-7491-43fa-b04f-4f6e300df2fa" providerId="ADAL" clId="{EF2E8D5A-BFC8-4880-AFEB-1BC62E57649F}" dt="2021-04-27T10:54:22.870" v="2611" actId="313"/>
        <pc:sldMkLst>
          <pc:docMk/>
          <pc:sldMk cId="2272776827" sldId="1117"/>
        </pc:sldMkLst>
        <pc:spChg chg="mod">
          <ac:chgData name="Rautaporras Petteri" userId="d9004aa4-7491-43fa-b04f-4f6e300df2fa" providerId="ADAL" clId="{EF2E8D5A-BFC8-4880-AFEB-1BC62E57649F}" dt="2021-04-27T10:54:22.870" v="2611" actId="313"/>
          <ac:spMkLst>
            <pc:docMk/>
            <pc:sldMk cId="2272776827" sldId="1117"/>
            <ac:spMk id="2" creationId="{25165083-82DB-4E44-8B62-0436D46FE3CA}"/>
          </ac:spMkLst>
        </pc:spChg>
      </pc:sldChg>
      <pc:sldChg chg="modSp mod">
        <pc:chgData name="Rautaporras Petteri" userId="d9004aa4-7491-43fa-b04f-4f6e300df2fa" providerId="ADAL" clId="{EF2E8D5A-BFC8-4880-AFEB-1BC62E57649F}" dt="2021-04-26T12:47:23.298" v="211"/>
        <pc:sldMkLst>
          <pc:docMk/>
          <pc:sldMk cId="3588709971" sldId="1118"/>
        </pc:sldMkLst>
        <pc:spChg chg="mod">
          <ac:chgData name="Rautaporras Petteri" userId="d9004aa4-7491-43fa-b04f-4f6e300df2fa" providerId="ADAL" clId="{EF2E8D5A-BFC8-4880-AFEB-1BC62E57649F}" dt="2021-04-26T12:47:23.298" v="211"/>
          <ac:spMkLst>
            <pc:docMk/>
            <pc:sldMk cId="3588709971" sldId="1118"/>
            <ac:spMk id="10" creationId="{791C78E0-00E0-43A3-BD0C-8AECB56CA32F}"/>
          </ac:spMkLst>
        </pc:spChg>
        <pc:graphicFrameChg chg="mod">
          <ac:chgData name="Rautaporras Petteri" userId="d9004aa4-7491-43fa-b04f-4f6e300df2fa" providerId="ADAL" clId="{EF2E8D5A-BFC8-4880-AFEB-1BC62E57649F}" dt="2021-04-26T12:47:12.291" v="207"/>
          <ac:graphicFrameMkLst>
            <pc:docMk/>
            <pc:sldMk cId="3588709971" sldId="1118"/>
            <ac:graphicFrameMk id="9" creationId="{77D08159-59A8-4D26-8835-EADDC01FB2C4}"/>
          </ac:graphicFrameMkLst>
        </pc:graphicFrameChg>
      </pc:sldChg>
      <pc:sldChg chg="modSp del">
        <pc:chgData name="Rautaporras Petteri" userId="d9004aa4-7491-43fa-b04f-4f6e300df2fa" providerId="ADAL" clId="{EF2E8D5A-BFC8-4880-AFEB-1BC62E57649F}" dt="2021-04-26T12:59:44.097" v="222" actId="47"/>
        <pc:sldMkLst>
          <pc:docMk/>
          <pc:sldMk cId="37404522" sldId="1119"/>
        </pc:sldMkLst>
        <pc:graphicFrameChg chg="mod">
          <ac:chgData name="Rautaporras Petteri" userId="d9004aa4-7491-43fa-b04f-4f6e300df2fa" providerId="ADAL" clId="{EF2E8D5A-BFC8-4880-AFEB-1BC62E57649F}" dt="2021-04-26T12:59:44.065" v="221"/>
          <ac:graphicFrameMkLst>
            <pc:docMk/>
            <pc:sldMk cId="37404522" sldId="1119"/>
            <ac:graphicFrameMk id="6" creationId="{9B48671E-2E56-4727-B509-A9FA651C54DA}"/>
          </ac:graphicFrameMkLst>
        </pc:graphicFrameChg>
      </pc:sldChg>
      <pc:sldChg chg="del">
        <pc:chgData name="Rautaporras Petteri" userId="d9004aa4-7491-43fa-b04f-4f6e300df2fa" providerId="ADAL" clId="{EF2E8D5A-BFC8-4880-AFEB-1BC62E57649F}" dt="2021-04-26T13:00:15.793" v="224" actId="47"/>
        <pc:sldMkLst>
          <pc:docMk/>
          <pc:sldMk cId="1038765052" sldId="1123"/>
        </pc:sldMkLst>
      </pc:sldChg>
      <pc:sldChg chg="del">
        <pc:chgData name="Rautaporras Petteri" userId="d9004aa4-7491-43fa-b04f-4f6e300df2fa" providerId="ADAL" clId="{EF2E8D5A-BFC8-4880-AFEB-1BC62E57649F}" dt="2021-04-26T13:01:26.640" v="226" actId="47"/>
        <pc:sldMkLst>
          <pc:docMk/>
          <pc:sldMk cId="2832050897" sldId="1124"/>
        </pc:sldMkLst>
      </pc:sldChg>
      <pc:sldChg chg="del">
        <pc:chgData name="Rautaporras Petteri" userId="d9004aa4-7491-43fa-b04f-4f6e300df2fa" providerId="ADAL" clId="{EF2E8D5A-BFC8-4880-AFEB-1BC62E57649F}" dt="2021-04-26T13:01:56.904" v="230" actId="47"/>
        <pc:sldMkLst>
          <pc:docMk/>
          <pc:sldMk cId="1533151879" sldId="1125"/>
        </pc:sldMkLst>
      </pc:sldChg>
      <pc:sldChg chg="modSp mod">
        <pc:chgData name="Rautaporras Petteri" userId="d9004aa4-7491-43fa-b04f-4f6e300df2fa" providerId="ADAL" clId="{EF2E8D5A-BFC8-4880-AFEB-1BC62E57649F}" dt="2021-04-28T06:02:20.395" v="3053" actId="20577"/>
        <pc:sldMkLst>
          <pc:docMk/>
          <pc:sldMk cId="3970922604" sldId="1126"/>
        </pc:sldMkLst>
        <pc:spChg chg="mod">
          <ac:chgData name="Rautaporras Petteri" userId="d9004aa4-7491-43fa-b04f-4f6e300df2fa" providerId="ADAL" clId="{EF2E8D5A-BFC8-4880-AFEB-1BC62E57649F}" dt="2021-04-28T06:02:20.395" v="3053" actId="20577"/>
          <ac:spMkLst>
            <pc:docMk/>
            <pc:sldMk cId="3970922604" sldId="1126"/>
            <ac:spMk id="6" creationId="{438E4283-469C-4E61-9967-BB1E108BD8A6}"/>
          </ac:spMkLst>
        </pc:spChg>
      </pc:sldChg>
      <pc:sldChg chg="addSp delSp modSp mod">
        <pc:chgData name="Rautaporras Petteri" userId="d9004aa4-7491-43fa-b04f-4f6e300df2fa" providerId="ADAL" clId="{EF2E8D5A-BFC8-4880-AFEB-1BC62E57649F}" dt="2021-04-27T10:51:09.905" v="2558" actId="255"/>
        <pc:sldMkLst>
          <pc:docMk/>
          <pc:sldMk cId="1005875025" sldId="2076137431"/>
        </pc:sldMkLst>
        <pc:spChg chg="mod">
          <ac:chgData name="Rautaporras Petteri" userId="d9004aa4-7491-43fa-b04f-4f6e300df2fa" providerId="ADAL" clId="{EF2E8D5A-BFC8-4880-AFEB-1BC62E57649F}" dt="2021-04-27T10:51:09.905" v="2558" actId="255"/>
          <ac:spMkLst>
            <pc:docMk/>
            <pc:sldMk cId="1005875025" sldId="2076137431"/>
            <ac:spMk id="2" creationId="{1EA16522-6D7C-4EC7-AF1E-1A8A6FD7091A}"/>
          </ac:spMkLst>
        </pc:spChg>
        <pc:spChg chg="mod">
          <ac:chgData name="Rautaporras Petteri" userId="d9004aa4-7491-43fa-b04f-4f6e300df2fa" providerId="ADAL" clId="{EF2E8D5A-BFC8-4880-AFEB-1BC62E57649F}" dt="2021-04-26T12:32:10.039" v="27" actId="1076"/>
          <ac:spMkLst>
            <pc:docMk/>
            <pc:sldMk cId="1005875025" sldId="2076137431"/>
            <ac:spMk id="6" creationId="{363381DA-856B-4FE0-88EC-1D58A808626C}"/>
          </ac:spMkLst>
        </pc:spChg>
        <pc:spChg chg="mod">
          <ac:chgData name="Rautaporras Petteri" userId="d9004aa4-7491-43fa-b04f-4f6e300df2fa" providerId="ADAL" clId="{EF2E8D5A-BFC8-4880-AFEB-1BC62E57649F}" dt="2021-04-26T12:32:22.688" v="38" actId="20577"/>
          <ac:spMkLst>
            <pc:docMk/>
            <pc:sldMk cId="1005875025" sldId="2076137431"/>
            <ac:spMk id="7" creationId="{E5D8414E-05B2-45E8-B1A5-433C94DBAC85}"/>
          </ac:spMkLst>
        </pc:spChg>
        <pc:picChg chg="del">
          <ac:chgData name="Rautaporras Petteri" userId="d9004aa4-7491-43fa-b04f-4f6e300df2fa" providerId="ADAL" clId="{EF2E8D5A-BFC8-4880-AFEB-1BC62E57649F}" dt="2021-04-26T12:16:57.310" v="5" actId="478"/>
          <ac:picMkLst>
            <pc:docMk/>
            <pc:sldMk cId="1005875025" sldId="2076137431"/>
            <ac:picMk id="8" creationId="{59382AD7-337A-46FD-BF8C-31C8662EEECB}"/>
          </ac:picMkLst>
        </pc:picChg>
        <pc:picChg chg="add del mod">
          <ac:chgData name="Rautaporras Petteri" userId="d9004aa4-7491-43fa-b04f-4f6e300df2fa" providerId="ADAL" clId="{EF2E8D5A-BFC8-4880-AFEB-1BC62E57649F}" dt="2021-04-26T12:17:24.314" v="9" actId="478"/>
          <ac:picMkLst>
            <pc:docMk/>
            <pc:sldMk cId="1005875025" sldId="2076137431"/>
            <ac:picMk id="10" creationId="{641C5B66-3413-4C62-ACD3-869B76802B5D}"/>
          </ac:picMkLst>
        </pc:picChg>
        <pc:picChg chg="add mod">
          <ac:chgData name="Rautaporras Petteri" userId="d9004aa4-7491-43fa-b04f-4f6e300df2fa" providerId="ADAL" clId="{EF2E8D5A-BFC8-4880-AFEB-1BC62E57649F}" dt="2021-04-26T12:32:06.975" v="26" actId="1076"/>
          <ac:picMkLst>
            <pc:docMk/>
            <pc:sldMk cId="1005875025" sldId="2076137431"/>
            <ac:picMk id="12" creationId="{7D501E70-F242-4AD9-91F8-56C1178E0407}"/>
          </ac:picMkLst>
        </pc:picChg>
      </pc:sldChg>
      <pc:sldChg chg="add del">
        <pc:chgData name="Rautaporras Petteri" userId="d9004aa4-7491-43fa-b04f-4f6e300df2fa" providerId="ADAL" clId="{EF2E8D5A-BFC8-4880-AFEB-1BC62E57649F}" dt="2021-04-26T12:59:20.734" v="215" actId="47"/>
        <pc:sldMkLst>
          <pc:docMk/>
          <pc:sldMk cId="2192367370" sldId="2076137432"/>
        </pc:sldMkLst>
      </pc:sldChg>
      <pc:sldChg chg="modSp add mod">
        <pc:chgData name="Rautaporras Petteri" userId="d9004aa4-7491-43fa-b04f-4f6e300df2fa" providerId="ADAL" clId="{EF2E8D5A-BFC8-4880-AFEB-1BC62E57649F}" dt="2021-04-27T19:22:23.652" v="2709" actId="20577"/>
        <pc:sldMkLst>
          <pc:docMk/>
          <pc:sldMk cId="743890610" sldId="2076137433"/>
        </pc:sldMkLst>
        <pc:spChg chg="mod">
          <ac:chgData name="Rautaporras Petteri" userId="d9004aa4-7491-43fa-b04f-4f6e300df2fa" providerId="ADAL" clId="{EF2E8D5A-BFC8-4880-AFEB-1BC62E57649F}" dt="2021-04-27T19:22:23.652" v="2709" actId="20577"/>
          <ac:spMkLst>
            <pc:docMk/>
            <pc:sldMk cId="743890610" sldId="2076137433"/>
            <ac:spMk id="7" creationId="{00000000-0000-0000-0000-000000000000}"/>
          </ac:spMkLst>
        </pc:spChg>
      </pc:sldChg>
      <pc:sldChg chg="add del">
        <pc:chgData name="Rautaporras Petteri" userId="d9004aa4-7491-43fa-b04f-4f6e300df2fa" providerId="ADAL" clId="{EF2E8D5A-BFC8-4880-AFEB-1BC62E57649F}" dt="2021-04-27T05:02:12.647" v="338" actId="47"/>
        <pc:sldMkLst>
          <pc:docMk/>
          <pc:sldMk cId="4236986069" sldId="2076137434"/>
        </pc:sldMkLst>
      </pc:sldChg>
      <pc:sldChg chg="add">
        <pc:chgData name="Rautaporras Petteri" userId="d9004aa4-7491-43fa-b04f-4f6e300df2fa" providerId="ADAL" clId="{EF2E8D5A-BFC8-4880-AFEB-1BC62E57649F}" dt="2021-04-26T13:02:18.016" v="233"/>
        <pc:sldMkLst>
          <pc:docMk/>
          <pc:sldMk cId="3005809879" sldId="2076137435"/>
        </pc:sldMkLst>
      </pc:sldChg>
      <pc:sldChg chg="add">
        <pc:chgData name="Rautaporras Petteri" userId="d9004aa4-7491-43fa-b04f-4f6e300df2fa" providerId="ADAL" clId="{EF2E8D5A-BFC8-4880-AFEB-1BC62E57649F}" dt="2021-04-26T13:03:56.226" v="331"/>
        <pc:sldMkLst>
          <pc:docMk/>
          <pc:sldMk cId="800762062" sldId="2076137436"/>
        </pc:sldMkLst>
      </pc:sldChg>
      <pc:sldChg chg="modSp new mod">
        <pc:chgData name="Rautaporras Petteri" userId="d9004aa4-7491-43fa-b04f-4f6e300df2fa" providerId="ADAL" clId="{EF2E8D5A-BFC8-4880-AFEB-1BC62E57649F}" dt="2021-04-27T13:00:23.661" v="2707" actId="20577"/>
        <pc:sldMkLst>
          <pc:docMk/>
          <pc:sldMk cId="858822830" sldId="2076137437"/>
        </pc:sldMkLst>
        <pc:spChg chg="mod">
          <ac:chgData name="Rautaporras Petteri" userId="d9004aa4-7491-43fa-b04f-4f6e300df2fa" providerId="ADAL" clId="{EF2E8D5A-BFC8-4880-AFEB-1BC62E57649F}" dt="2021-04-27T05:24:48.092" v="1920" actId="12"/>
          <ac:spMkLst>
            <pc:docMk/>
            <pc:sldMk cId="858822830" sldId="2076137437"/>
            <ac:spMk id="2" creationId="{6FA92EF3-6881-400B-A823-C1DF95ACB69E}"/>
          </ac:spMkLst>
        </pc:spChg>
        <pc:spChg chg="mod">
          <ac:chgData name="Rautaporras Petteri" userId="d9004aa4-7491-43fa-b04f-4f6e300df2fa" providerId="ADAL" clId="{EF2E8D5A-BFC8-4880-AFEB-1BC62E57649F}" dt="2021-04-27T13:00:23.661" v="2707" actId="20577"/>
          <ac:spMkLst>
            <pc:docMk/>
            <pc:sldMk cId="858822830" sldId="2076137437"/>
            <ac:spMk id="6" creationId="{26680B02-E3ED-48E7-BF93-F964DC93B53B}"/>
          </ac:spMkLst>
        </pc:spChg>
      </pc:sldChg>
    </pc:docChg>
  </pc:docChgLst>
  <pc:docChgLst>
    <pc:chgData name="Petteri Rautaporras" userId="81ae4bc9-51ec-4b09-af2d-f08f9486593f" providerId="ADAL" clId="{B53143DA-4E82-4934-AF6D-B66CEDDD54E8}"/>
    <pc:docChg chg="custSel modSld">
      <pc:chgData name="Petteri Rautaporras" userId="81ae4bc9-51ec-4b09-af2d-f08f9486593f" providerId="ADAL" clId="{B53143DA-4E82-4934-AF6D-B66CEDDD54E8}" dt="2021-08-04T05:39:54.701" v="4" actId="27636"/>
      <pc:docMkLst>
        <pc:docMk/>
      </pc:docMkLst>
      <pc:sldChg chg="modSp mod">
        <pc:chgData name="Petteri Rautaporras" userId="81ae4bc9-51ec-4b09-af2d-f08f9486593f" providerId="ADAL" clId="{B53143DA-4E82-4934-AF6D-B66CEDDD54E8}" dt="2021-08-04T05:39:54.532" v="0" actId="27636"/>
        <pc:sldMkLst>
          <pc:docMk/>
          <pc:sldMk cId="3607371377" sldId="1063"/>
        </pc:sldMkLst>
        <pc:spChg chg="mod">
          <ac:chgData name="Petteri Rautaporras" userId="81ae4bc9-51ec-4b09-af2d-f08f9486593f" providerId="ADAL" clId="{B53143DA-4E82-4934-AF6D-B66CEDDD54E8}" dt="2021-08-04T05:39:54.532" v="0" actId="27636"/>
          <ac:spMkLst>
            <pc:docMk/>
            <pc:sldMk cId="3607371377" sldId="1063"/>
            <ac:spMk id="2" creationId="{50FC3B40-AC30-46E2-BCAD-E388935D70C2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79" v="3" actId="27636"/>
        <pc:sldMkLst>
          <pc:docMk/>
          <pc:sldMk cId="1166976421" sldId="1068"/>
        </pc:sldMkLst>
        <pc:spChg chg="mod">
          <ac:chgData name="Petteri Rautaporras" userId="81ae4bc9-51ec-4b09-af2d-f08f9486593f" providerId="ADAL" clId="{B53143DA-4E82-4934-AF6D-B66CEDDD54E8}" dt="2021-08-04T05:39:54.679" v="3" actId="27636"/>
          <ac:spMkLst>
            <pc:docMk/>
            <pc:sldMk cId="1166976421" sldId="1068"/>
            <ac:spMk id="2" creationId="{00000000-0000-0000-0000-000000000000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701" v="4" actId="27636"/>
        <pc:sldMkLst>
          <pc:docMk/>
          <pc:sldMk cId="929075840" sldId="1075"/>
        </pc:sldMkLst>
        <pc:spChg chg="mod">
          <ac:chgData name="Petteri Rautaporras" userId="81ae4bc9-51ec-4b09-af2d-f08f9486593f" providerId="ADAL" clId="{B53143DA-4E82-4934-AF6D-B66CEDDD54E8}" dt="2021-08-04T05:39:54.701" v="4" actId="27636"/>
          <ac:spMkLst>
            <pc:docMk/>
            <pc:sldMk cId="929075840" sldId="1075"/>
            <ac:spMk id="2" creationId="{40907C84-4663-4DC6-B126-256840B87413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32" v="1" actId="27636"/>
        <pc:sldMkLst>
          <pc:docMk/>
          <pc:sldMk cId="3588709971" sldId="1118"/>
        </pc:sldMkLst>
        <pc:spChg chg="mod">
          <ac:chgData name="Petteri Rautaporras" userId="81ae4bc9-51ec-4b09-af2d-f08f9486593f" providerId="ADAL" clId="{B53143DA-4E82-4934-AF6D-B66CEDDD54E8}" dt="2021-08-04T05:39:54.632" v="1" actId="27636"/>
          <ac:spMkLst>
            <pc:docMk/>
            <pc:sldMk cId="3588709971" sldId="1118"/>
            <ac:spMk id="10" creationId="{791C78E0-00E0-43A3-BD0C-8AECB56CA32F}"/>
          </ac:spMkLst>
        </pc:spChg>
      </pc:sldChg>
      <pc:sldChg chg="modSp mod">
        <pc:chgData name="Petteri Rautaporras" userId="81ae4bc9-51ec-4b09-af2d-f08f9486593f" providerId="ADAL" clId="{B53143DA-4E82-4934-AF6D-B66CEDDD54E8}" dt="2021-08-04T05:39:54.647" v="2" actId="27636"/>
        <pc:sldMkLst>
          <pc:docMk/>
          <pc:sldMk cId="2829966302" sldId="2076137438"/>
        </pc:sldMkLst>
        <pc:spChg chg="mod">
          <ac:chgData name="Petteri Rautaporras" userId="81ae4bc9-51ec-4b09-af2d-f08f9486593f" providerId="ADAL" clId="{B53143DA-4E82-4934-AF6D-B66CEDDD54E8}" dt="2021-08-04T05:39:54.647" v="2" actId="27636"/>
          <ac:spMkLst>
            <pc:docMk/>
            <pc:sldMk cId="2829966302" sldId="2076137438"/>
            <ac:spMk id="2" creationId="{00000000-0000-0000-0000-00000000000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600" b="1">
                <a:solidFill>
                  <a:srgbClr val="000000"/>
                </a:solidFill>
              </a:defRPr>
            </a:pPr>
            <a:r>
              <a:rPr lang="en-US" sz="1050" b="0" err="1">
                <a:solidFill>
                  <a:srgbClr val="000000"/>
                </a:solidFill>
              </a:rPr>
              <a:t>Saldoluku</a:t>
            </a:r>
            <a:r>
              <a:rPr lang="en-US" sz="1050" b="0">
                <a:solidFill>
                  <a:srgbClr val="000000"/>
                </a:solidFill>
              </a:rPr>
              <a:t> </a:t>
            </a:r>
          </a:p>
        </c:rich>
      </c:tx>
      <c:layout>
        <c:manualLayout>
          <c:xMode val="edge"/>
          <c:yMode val="edge"/>
          <c:x val="0.84301744915256771"/>
          <c:y val="0.12627532263188951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4674120615740283E-2"/>
          <c:y val="3.5687247530145093E-2"/>
          <c:w val="0.93307819253678703"/>
          <c:h val="0.93088245034184414"/>
        </c:manualLayout>
      </c:layout>
      <c:lineChart>
        <c:grouping val="standar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Saldoluku</c:v>
                </c:pt>
              </c:strCache>
            </c:strRef>
          </c:tx>
          <c:spPr>
            <a:ln w="41275">
              <a:solidFill>
                <a:schemeClr val="accent1"/>
              </a:solidFill>
            </a:ln>
          </c:spPr>
          <c:marker>
            <c:symbol val="none"/>
          </c:marker>
          <c:cat>
            <c:strRef>
              <c:f>Taul1!$A$2:$A$58</c:f>
              <c:strCache>
                <c:ptCount val="56"/>
                <c:pt idx="1">
                  <c:v>08(1)</c:v>
                </c:pt>
                <c:pt idx="2">
                  <c:v>08(4)</c:v>
                </c:pt>
                <c:pt idx="3">
                  <c:v>08(7)</c:v>
                </c:pt>
                <c:pt idx="4">
                  <c:v>08(10)</c:v>
                </c:pt>
                <c:pt idx="5">
                  <c:v>09(1)</c:v>
                </c:pt>
                <c:pt idx="6">
                  <c:v>09(4)</c:v>
                </c:pt>
                <c:pt idx="7">
                  <c:v>09(7)</c:v>
                </c:pt>
                <c:pt idx="8">
                  <c:v>09(10)</c:v>
                </c:pt>
                <c:pt idx="9">
                  <c:v>10(1)</c:v>
                </c:pt>
                <c:pt idx="10">
                  <c:v>10(4)</c:v>
                </c:pt>
                <c:pt idx="11">
                  <c:v>10(7)</c:v>
                </c:pt>
                <c:pt idx="12">
                  <c:v>10(10)</c:v>
                </c:pt>
                <c:pt idx="13">
                  <c:v>11(1)</c:v>
                </c:pt>
                <c:pt idx="14">
                  <c:v>11(4)</c:v>
                </c:pt>
                <c:pt idx="15">
                  <c:v>11(7)</c:v>
                </c:pt>
                <c:pt idx="16">
                  <c:v>11(10)</c:v>
                </c:pt>
                <c:pt idx="17">
                  <c:v>12(1)</c:v>
                </c:pt>
                <c:pt idx="18">
                  <c:v>12(4)</c:v>
                </c:pt>
                <c:pt idx="19">
                  <c:v>12(7)</c:v>
                </c:pt>
                <c:pt idx="20">
                  <c:v>12(10)</c:v>
                </c:pt>
                <c:pt idx="21">
                  <c:v>13(1)</c:v>
                </c:pt>
                <c:pt idx="22">
                  <c:v>13(4)</c:v>
                </c:pt>
                <c:pt idx="23">
                  <c:v>13(7)</c:v>
                </c:pt>
                <c:pt idx="24">
                  <c:v>13(10)</c:v>
                </c:pt>
                <c:pt idx="25">
                  <c:v>14(1)</c:v>
                </c:pt>
                <c:pt idx="26">
                  <c:v>14(4)</c:v>
                </c:pt>
                <c:pt idx="27">
                  <c:v>14(7)</c:v>
                </c:pt>
                <c:pt idx="28">
                  <c:v>14(10)</c:v>
                </c:pt>
                <c:pt idx="29">
                  <c:v>15(1)</c:v>
                </c:pt>
                <c:pt idx="30">
                  <c:v>15(4)</c:v>
                </c:pt>
                <c:pt idx="31">
                  <c:v>15(7)</c:v>
                </c:pt>
                <c:pt idx="32">
                  <c:v>15(10)</c:v>
                </c:pt>
                <c:pt idx="33">
                  <c:v>16(1)</c:v>
                </c:pt>
                <c:pt idx="34">
                  <c:v>16(4)</c:v>
                </c:pt>
                <c:pt idx="35">
                  <c:v>16(7)</c:v>
                </c:pt>
                <c:pt idx="36">
                  <c:v>16(10)</c:v>
                </c:pt>
                <c:pt idx="37">
                  <c:v>17(1)</c:v>
                </c:pt>
                <c:pt idx="38">
                  <c:v>17(4)</c:v>
                </c:pt>
                <c:pt idx="39">
                  <c:v>17(7)</c:v>
                </c:pt>
                <c:pt idx="40">
                  <c:v>17(10)</c:v>
                </c:pt>
                <c:pt idx="41">
                  <c:v>18(1)</c:v>
                </c:pt>
                <c:pt idx="42">
                  <c:v>18(4)</c:v>
                </c:pt>
                <c:pt idx="43">
                  <c:v>18(7)</c:v>
                </c:pt>
                <c:pt idx="44">
                  <c:v>18(10)</c:v>
                </c:pt>
                <c:pt idx="45">
                  <c:v>19(1)</c:v>
                </c:pt>
                <c:pt idx="46">
                  <c:v>19(4)</c:v>
                </c:pt>
                <c:pt idx="47">
                  <c:v>19(7)</c:v>
                </c:pt>
                <c:pt idx="48">
                  <c:v>19(10)</c:v>
                </c:pt>
                <c:pt idx="49">
                  <c:v>20(1)</c:v>
                </c:pt>
                <c:pt idx="50">
                  <c:v>20(4)</c:v>
                </c:pt>
                <c:pt idx="51">
                  <c:v>20(07)</c:v>
                </c:pt>
                <c:pt idx="52">
                  <c:v>20(10)</c:v>
                </c:pt>
                <c:pt idx="53">
                  <c:v>21(1)</c:v>
                </c:pt>
                <c:pt idx="54">
                  <c:v>21(4)</c:v>
                </c:pt>
                <c:pt idx="55">
                  <c:v>21(7)</c:v>
                </c:pt>
              </c:strCache>
            </c:strRef>
          </c:cat>
          <c:val>
            <c:numRef>
              <c:f>Taul1!$B$2:$B$58</c:f>
              <c:numCache>
                <c:formatCode>General</c:formatCode>
                <c:ptCount val="57"/>
                <c:pt idx="1">
                  <c:v>-2</c:v>
                </c:pt>
                <c:pt idx="2">
                  <c:v>1</c:v>
                </c:pt>
                <c:pt idx="3">
                  <c:v>-14</c:v>
                </c:pt>
                <c:pt idx="4">
                  <c:v>-28</c:v>
                </c:pt>
                <c:pt idx="5">
                  <c:v>-56</c:v>
                </c:pt>
                <c:pt idx="6">
                  <c:v>-36</c:v>
                </c:pt>
                <c:pt idx="7">
                  <c:v>-21</c:v>
                </c:pt>
                <c:pt idx="8">
                  <c:v>2</c:v>
                </c:pt>
                <c:pt idx="9">
                  <c:v>10</c:v>
                </c:pt>
                <c:pt idx="10">
                  <c:v>33</c:v>
                </c:pt>
                <c:pt idx="11">
                  <c:v>27</c:v>
                </c:pt>
                <c:pt idx="12">
                  <c:v>19</c:v>
                </c:pt>
                <c:pt idx="13">
                  <c:v>26</c:v>
                </c:pt>
                <c:pt idx="14">
                  <c:v>30</c:v>
                </c:pt>
                <c:pt idx="15">
                  <c:v>18</c:v>
                </c:pt>
                <c:pt idx="16">
                  <c:v>-5</c:v>
                </c:pt>
                <c:pt idx="17">
                  <c:v>-5</c:v>
                </c:pt>
                <c:pt idx="18">
                  <c:v>8</c:v>
                </c:pt>
                <c:pt idx="19">
                  <c:v>-4</c:v>
                </c:pt>
                <c:pt idx="20">
                  <c:v>-24</c:v>
                </c:pt>
                <c:pt idx="21">
                  <c:v>-11</c:v>
                </c:pt>
                <c:pt idx="22">
                  <c:v>-2</c:v>
                </c:pt>
                <c:pt idx="23">
                  <c:v>-11</c:v>
                </c:pt>
                <c:pt idx="24">
                  <c:v>-13</c:v>
                </c:pt>
                <c:pt idx="25">
                  <c:v>5</c:v>
                </c:pt>
                <c:pt idx="26">
                  <c:v>15</c:v>
                </c:pt>
                <c:pt idx="27">
                  <c:v>3</c:v>
                </c:pt>
                <c:pt idx="28">
                  <c:v>-12</c:v>
                </c:pt>
                <c:pt idx="29">
                  <c:v>-4</c:v>
                </c:pt>
                <c:pt idx="30">
                  <c:v>10</c:v>
                </c:pt>
                <c:pt idx="31">
                  <c:v>1</c:v>
                </c:pt>
                <c:pt idx="32">
                  <c:v>-3</c:v>
                </c:pt>
                <c:pt idx="33">
                  <c:v>1</c:v>
                </c:pt>
                <c:pt idx="34">
                  <c:v>18</c:v>
                </c:pt>
                <c:pt idx="35">
                  <c:v>4</c:v>
                </c:pt>
                <c:pt idx="36">
                  <c:v>9</c:v>
                </c:pt>
                <c:pt idx="37">
                  <c:v>14</c:v>
                </c:pt>
                <c:pt idx="38">
                  <c:v>24</c:v>
                </c:pt>
                <c:pt idx="39">
                  <c:v>24</c:v>
                </c:pt>
                <c:pt idx="40">
                  <c:v>21.45</c:v>
                </c:pt>
                <c:pt idx="41">
                  <c:v>26.4</c:v>
                </c:pt>
                <c:pt idx="42">
                  <c:v>24.3</c:v>
                </c:pt>
                <c:pt idx="43">
                  <c:v>11.46</c:v>
                </c:pt>
                <c:pt idx="44">
                  <c:v>0.45</c:v>
                </c:pt>
                <c:pt idx="45">
                  <c:v>4.71</c:v>
                </c:pt>
                <c:pt idx="46">
                  <c:v>12.19</c:v>
                </c:pt>
                <c:pt idx="47">
                  <c:v>-2.73</c:v>
                </c:pt>
                <c:pt idx="48">
                  <c:v>-16.66</c:v>
                </c:pt>
                <c:pt idx="49">
                  <c:v>-6.75</c:v>
                </c:pt>
                <c:pt idx="50">
                  <c:v>-41.7</c:v>
                </c:pt>
                <c:pt idx="51">
                  <c:v>-43.66</c:v>
                </c:pt>
                <c:pt idx="52">
                  <c:v>-16.29</c:v>
                </c:pt>
                <c:pt idx="53">
                  <c:v>7.89</c:v>
                </c:pt>
                <c:pt idx="54">
                  <c:v>26.61</c:v>
                </c:pt>
                <c:pt idx="55">
                  <c:v>30.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AD0-4FF0-85C3-A9C09AA007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07343216"/>
        <c:axId val="407343608"/>
      </c:lineChart>
      <c:catAx>
        <c:axId val="40734321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one"/>
        <c:txPr>
          <a:bodyPr/>
          <a:lstStyle/>
          <a:p>
            <a:pPr>
              <a:defRPr sz="1400" b="1" i="0" baseline="0">
                <a:latin typeface="Arial" panose="020B0604020202020204" pitchFamily="34" charset="0"/>
              </a:defRPr>
            </a:pPr>
            <a:endParaRPr lang="fi-FI"/>
          </a:p>
        </c:txPr>
        <c:crossAx val="407343608"/>
        <c:crosses val="autoZero"/>
        <c:auto val="1"/>
        <c:lblAlgn val="ctr"/>
        <c:lblOffset val="100"/>
        <c:tickLblSkip val="11"/>
        <c:tickMarkSkip val="4"/>
        <c:noMultiLvlLbl val="0"/>
      </c:catAx>
      <c:valAx>
        <c:axId val="407343608"/>
        <c:scaling>
          <c:orientation val="minMax"/>
          <c:max val="40"/>
          <c:min val="-60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50" b="0" i="0" baseline="0">
                <a:solidFill>
                  <a:schemeClr val="tx2"/>
                </a:solidFill>
                <a:latin typeface="Verdana" panose="020B0604030504040204" pitchFamily="34" charset="0"/>
              </a:defRPr>
            </a:pPr>
            <a:endParaRPr lang="fi-FI"/>
          </a:p>
        </c:txPr>
        <c:crossAx val="407343216"/>
        <c:crosses val="autoZero"/>
        <c:crossBetween val="midCat"/>
        <c:majorUnit val="10"/>
        <c:minorUnit val="5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fi-FI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1">
                  <c:v>6770.14</c:v>
                </c:pt>
                <c:pt idx="2">
                  <c:v>7027.88</c:v>
                </c:pt>
                <c:pt idx="3">
                  <c:v>6868.75</c:v>
                </c:pt>
                <c:pt idx="4">
                  <c:v>8984.9599999999991</c:v>
                </c:pt>
                <c:pt idx="5">
                  <c:v>8263.85</c:v>
                </c:pt>
                <c:pt idx="6">
                  <c:v>8604.5499999999993</c:v>
                </c:pt>
                <c:pt idx="7">
                  <c:v>7525.45</c:v>
                </c:pt>
                <c:pt idx="8">
                  <c:v>9273.06</c:v>
                </c:pt>
                <c:pt idx="9">
                  <c:v>8084.26</c:v>
                </c:pt>
                <c:pt idx="10">
                  <c:v>8430.1299999999992</c:v>
                </c:pt>
                <c:pt idx="11">
                  <c:v>7475.3</c:v>
                </c:pt>
                <c:pt idx="12">
                  <c:v>8734.86</c:v>
                </c:pt>
                <c:pt idx="13">
                  <c:v>6913.91</c:v>
                </c:pt>
                <c:pt idx="14">
                  <c:v>7382.18</c:v>
                </c:pt>
                <c:pt idx="15">
                  <c:v>6691.13</c:v>
                </c:pt>
                <c:pt idx="16">
                  <c:v>7480.9</c:v>
                </c:pt>
                <c:pt idx="17">
                  <c:v>7480.28</c:v>
                </c:pt>
                <c:pt idx="18">
                  <c:v>7749.6</c:v>
                </c:pt>
                <c:pt idx="19">
                  <c:v>9116.6200000000008</c:v>
                </c:pt>
                <c:pt idx="20">
                  <c:v>7867.79</c:v>
                </c:pt>
                <c:pt idx="21">
                  <c:v>6789.08</c:v>
                </c:pt>
                <c:pt idx="22">
                  <c:v>8795.35</c:v>
                </c:pt>
                <c:pt idx="23">
                  <c:v>7116.61</c:v>
                </c:pt>
                <c:pt idx="24">
                  <c:v>8034.82</c:v>
                </c:pt>
                <c:pt idx="25">
                  <c:v>6877.92</c:v>
                </c:pt>
                <c:pt idx="26">
                  <c:v>6547.94</c:v>
                </c:pt>
                <c:pt idx="27">
                  <c:v>6530.51</c:v>
                </c:pt>
                <c:pt idx="28">
                  <c:v>8066.73</c:v>
                </c:pt>
                <c:pt idx="29">
                  <c:v>7680.67</c:v>
                </c:pt>
                <c:pt idx="30">
                  <c:v>9659.7199999999993</c:v>
                </c:pt>
                <c:pt idx="31">
                  <c:v>7302.85</c:v>
                </c:pt>
                <c:pt idx="32">
                  <c:v>11294.15</c:v>
                </c:pt>
                <c:pt idx="33">
                  <c:v>9156.4699999999993</c:v>
                </c:pt>
                <c:pt idx="34">
                  <c:v>8870.4599999999991</c:v>
                </c:pt>
                <c:pt idx="35">
                  <c:v>8927.7800000000007</c:v>
                </c:pt>
                <c:pt idx="36">
                  <c:v>10167.14</c:v>
                </c:pt>
                <c:pt idx="37">
                  <c:v>10179.32</c:v>
                </c:pt>
                <c:pt idx="38">
                  <c:v>9752.39</c:v>
                </c:pt>
                <c:pt idx="39">
                  <c:v>10070.620000000001</c:v>
                </c:pt>
                <c:pt idx="40">
                  <c:v>11512.46</c:v>
                </c:pt>
                <c:pt idx="41">
                  <c:v>9054.17</c:v>
                </c:pt>
                <c:pt idx="42">
                  <c:v>8347.44</c:v>
                </c:pt>
                <c:pt idx="43">
                  <c:v>8835.5300000000007</c:v>
                </c:pt>
                <c:pt idx="44">
                  <c:v>13322.4</c:v>
                </c:pt>
                <c:pt idx="45">
                  <c:v>9483.2099999999991</c:v>
                </c:pt>
                <c:pt idx="46">
                  <c:v>10070.62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1">
                  <c:v>5124.82</c:v>
                </c:pt>
                <c:pt idx="2">
                  <c:v>5517.78</c:v>
                </c:pt>
                <c:pt idx="3">
                  <c:v>5418.02</c:v>
                </c:pt>
                <c:pt idx="4">
                  <c:v>6763.96</c:v>
                </c:pt>
                <c:pt idx="5">
                  <c:v>5859.97</c:v>
                </c:pt>
                <c:pt idx="6">
                  <c:v>6621.32</c:v>
                </c:pt>
                <c:pt idx="7">
                  <c:v>5717.13</c:v>
                </c:pt>
                <c:pt idx="8">
                  <c:v>7094.57</c:v>
                </c:pt>
                <c:pt idx="9">
                  <c:v>6062.25</c:v>
                </c:pt>
                <c:pt idx="10">
                  <c:v>6512.39</c:v>
                </c:pt>
                <c:pt idx="11">
                  <c:v>5972.62</c:v>
                </c:pt>
                <c:pt idx="12">
                  <c:v>6990.29</c:v>
                </c:pt>
                <c:pt idx="13">
                  <c:v>5155.68</c:v>
                </c:pt>
                <c:pt idx="14">
                  <c:v>5499.15</c:v>
                </c:pt>
                <c:pt idx="15">
                  <c:v>5200.53</c:v>
                </c:pt>
                <c:pt idx="16">
                  <c:v>5816.96</c:v>
                </c:pt>
                <c:pt idx="17">
                  <c:v>5419.13</c:v>
                </c:pt>
                <c:pt idx="18">
                  <c:v>5609.98</c:v>
                </c:pt>
                <c:pt idx="19">
                  <c:v>6557.85</c:v>
                </c:pt>
                <c:pt idx="20">
                  <c:v>5879.6</c:v>
                </c:pt>
                <c:pt idx="21">
                  <c:v>4794.41</c:v>
                </c:pt>
                <c:pt idx="22">
                  <c:v>6386.67</c:v>
                </c:pt>
                <c:pt idx="23">
                  <c:v>5455.46</c:v>
                </c:pt>
                <c:pt idx="24">
                  <c:v>5725.55</c:v>
                </c:pt>
                <c:pt idx="25">
                  <c:v>4772.9799999999996</c:v>
                </c:pt>
                <c:pt idx="26">
                  <c:v>4579.49</c:v>
                </c:pt>
                <c:pt idx="27">
                  <c:v>4671.1000000000004</c:v>
                </c:pt>
                <c:pt idx="28">
                  <c:v>5611.84</c:v>
                </c:pt>
                <c:pt idx="29">
                  <c:v>5643.24</c:v>
                </c:pt>
                <c:pt idx="30">
                  <c:v>7490.06</c:v>
                </c:pt>
                <c:pt idx="31">
                  <c:v>5210.88</c:v>
                </c:pt>
                <c:pt idx="32">
                  <c:v>8293.61</c:v>
                </c:pt>
                <c:pt idx="33">
                  <c:v>6017.86</c:v>
                </c:pt>
                <c:pt idx="34">
                  <c:v>6369.58</c:v>
                </c:pt>
                <c:pt idx="35">
                  <c:v>6650.31</c:v>
                </c:pt>
                <c:pt idx="36">
                  <c:v>7337.67</c:v>
                </c:pt>
                <c:pt idx="37">
                  <c:v>7225.73</c:v>
                </c:pt>
                <c:pt idx="38">
                  <c:v>6736.51</c:v>
                </c:pt>
                <c:pt idx="39">
                  <c:v>7259.77</c:v>
                </c:pt>
                <c:pt idx="40">
                  <c:v>8837.31</c:v>
                </c:pt>
                <c:pt idx="41">
                  <c:v>6405.03</c:v>
                </c:pt>
                <c:pt idx="42">
                  <c:v>5845.03</c:v>
                </c:pt>
                <c:pt idx="43">
                  <c:v>6505.34</c:v>
                </c:pt>
                <c:pt idx="44">
                  <c:v>9727.43</c:v>
                </c:pt>
                <c:pt idx="45">
                  <c:v>6814.41</c:v>
                </c:pt>
                <c:pt idx="46">
                  <c:v>7830.7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1">
                  <c:v>1620.81</c:v>
                </c:pt>
                <c:pt idx="2">
                  <c:v>1483.77</c:v>
                </c:pt>
                <c:pt idx="3">
                  <c:v>1418.46</c:v>
                </c:pt>
                <c:pt idx="4">
                  <c:v>2167.5700000000002</c:v>
                </c:pt>
                <c:pt idx="5">
                  <c:v>2342.09</c:v>
                </c:pt>
                <c:pt idx="6">
                  <c:v>1936.56</c:v>
                </c:pt>
                <c:pt idx="7">
                  <c:v>1751.51</c:v>
                </c:pt>
                <c:pt idx="8">
                  <c:v>2113.23</c:v>
                </c:pt>
                <c:pt idx="9">
                  <c:v>1946.48</c:v>
                </c:pt>
                <c:pt idx="10">
                  <c:v>1852.8</c:v>
                </c:pt>
                <c:pt idx="11">
                  <c:v>1456.13</c:v>
                </c:pt>
                <c:pt idx="12">
                  <c:v>1691.42</c:v>
                </c:pt>
                <c:pt idx="13">
                  <c:v>1692.41</c:v>
                </c:pt>
                <c:pt idx="14">
                  <c:v>1825.68</c:v>
                </c:pt>
                <c:pt idx="15">
                  <c:v>1435.74</c:v>
                </c:pt>
                <c:pt idx="16">
                  <c:v>1598.13</c:v>
                </c:pt>
                <c:pt idx="17">
                  <c:v>1990.4</c:v>
                </c:pt>
                <c:pt idx="18">
                  <c:v>2073.35</c:v>
                </c:pt>
                <c:pt idx="19">
                  <c:v>2508.5</c:v>
                </c:pt>
                <c:pt idx="20">
                  <c:v>1901.05</c:v>
                </c:pt>
                <c:pt idx="21">
                  <c:v>1914.13</c:v>
                </c:pt>
                <c:pt idx="22">
                  <c:v>2324.2800000000002</c:v>
                </c:pt>
                <c:pt idx="23">
                  <c:v>1597.56</c:v>
                </c:pt>
                <c:pt idx="24">
                  <c:v>2234.5100000000002</c:v>
                </c:pt>
                <c:pt idx="25">
                  <c:v>2016.76</c:v>
                </c:pt>
                <c:pt idx="26">
                  <c:v>1879.82</c:v>
                </c:pt>
                <c:pt idx="27">
                  <c:v>1783.69</c:v>
                </c:pt>
                <c:pt idx="28">
                  <c:v>2366.06</c:v>
                </c:pt>
                <c:pt idx="29">
                  <c:v>1936.86</c:v>
                </c:pt>
                <c:pt idx="30">
                  <c:v>2068.17</c:v>
                </c:pt>
                <c:pt idx="31">
                  <c:v>2010.59</c:v>
                </c:pt>
                <c:pt idx="32">
                  <c:v>2884.58</c:v>
                </c:pt>
                <c:pt idx="33">
                  <c:v>2970.36</c:v>
                </c:pt>
                <c:pt idx="34">
                  <c:v>2347.94</c:v>
                </c:pt>
                <c:pt idx="35">
                  <c:v>2157.37</c:v>
                </c:pt>
                <c:pt idx="36">
                  <c:v>2672.3</c:v>
                </c:pt>
                <c:pt idx="37">
                  <c:v>2799.29</c:v>
                </c:pt>
                <c:pt idx="38">
                  <c:v>2889.75</c:v>
                </c:pt>
                <c:pt idx="39">
                  <c:v>2719.23</c:v>
                </c:pt>
                <c:pt idx="40">
                  <c:v>2531.2399999999998</c:v>
                </c:pt>
                <c:pt idx="41">
                  <c:v>2502.48</c:v>
                </c:pt>
                <c:pt idx="42">
                  <c:v>2358.58</c:v>
                </c:pt>
                <c:pt idx="43">
                  <c:v>2201.88</c:v>
                </c:pt>
                <c:pt idx="44">
                  <c:v>3429.9</c:v>
                </c:pt>
                <c:pt idx="45">
                  <c:v>2504.39</c:v>
                </c:pt>
                <c:pt idx="46">
                  <c:v>2058.6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140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10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1919674910102741E-2"/>
          <c:y val="4.0749431293150853E-2"/>
          <c:w val="0.78734293607653982"/>
          <c:h val="0.83258046821215703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hteensä</c:v>
                </c:pt>
              </c:strCache>
            </c:strRef>
          </c:tx>
          <c:spPr>
            <a:ln w="38100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B$2:$B$50</c:f>
              <c:numCache>
                <c:formatCode>General</c:formatCode>
                <c:ptCount val="49"/>
                <c:pt idx="1">
                  <c:v>2221.27</c:v>
                </c:pt>
                <c:pt idx="2">
                  <c:v>2724.42</c:v>
                </c:pt>
                <c:pt idx="3">
                  <c:v>2469.39</c:v>
                </c:pt>
                <c:pt idx="4">
                  <c:v>3309</c:v>
                </c:pt>
                <c:pt idx="5">
                  <c:v>3521.87</c:v>
                </c:pt>
                <c:pt idx="6">
                  <c:v>4452.3500000000004</c:v>
                </c:pt>
                <c:pt idx="7">
                  <c:v>3336.76</c:v>
                </c:pt>
                <c:pt idx="8">
                  <c:v>3869.89</c:v>
                </c:pt>
                <c:pt idx="9">
                  <c:v>3703.62</c:v>
                </c:pt>
                <c:pt idx="10">
                  <c:v>3547.27</c:v>
                </c:pt>
                <c:pt idx="11">
                  <c:v>3237.5</c:v>
                </c:pt>
                <c:pt idx="12">
                  <c:v>3971.14</c:v>
                </c:pt>
                <c:pt idx="13">
                  <c:v>3236.17</c:v>
                </c:pt>
                <c:pt idx="14">
                  <c:v>3527.89</c:v>
                </c:pt>
                <c:pt idx="15">
                  <c:v>3251.67</c:v>
                </c:pt>
                <c:pt idx="16">
                  <c:v>3256.97</c:v>
                </c:pt>
                <c:pt idx="17">
                  <c:v>3971.49</c:v>
                </c:pt>
                <c:pt idx="18">
                  <c:v>4305.25</c:v>
                </c:pt>
                <c:pt idx="19">
                  <c:v>5015.12</c:v>
                </c:pt>
                <c:pt idx="20">
                  <c:v>4019.46</c:v>
                </c:pt>
                <c:pt idx="21">
                  <c:v>3614.6</c:v>
                </c:pt>
                <c:pt idx="22">
                  <c:v>5638.18</c:v>
                </c:pt>
                <c:pt idx="23">
                  <c:v>4280.28</c:v>
                </c:pt>
                <c:pt idx="24">
                  <c:v>4042.06</c:v>
                </c:pt>
                <c:pt idx="25">
                  <c:v>3684.76</c:v>
                </c:pt>
                <c:pt idx="26">
                  <c:v>3425.72</c:v>
                </c:pt>
                <c:pt idx="27">
                  <c:v>3269.06</c:v>
                </c:pt>
                <c:pt idx="28">
                  <c:v>4333.45</c:v>
                </c:pt>
                <c:pt idx="29">
                  <c:v>4287.1499999999996</c:v>
                </c:pt>
                <c:pt idx="30">
                  <c:v>6091.26</c:v>
                </c:pt>
                <c:pt idx="31">
                  <c:v>3962.5</c:v>
                </c:pt>
                <c:pt idx="32">
                  <c:v>7399.89</c:v>
                </c:pt>
                <c:pt idx="33">
                  <c:v>5023.47</c:v>
                </c:pt>
                <c:pt idx="34">
                  <c:v>4982.07</c:v>
                </c:pt>
                <c:pt idx="35">
                  <c:v>5060.21</c:v>
                </c:pt>
                <c:pt idx="36">
                  <c:v>5758.44</c:v>
                </c:pt>
                <c:pt idx="37">
                  <c:v>5664.03</c:v>
                </c:pt>
                <c:pt idx="38">
                  <c:v>5157.7</c:v>
                </c:pt>
                <c:pt idx="39">
                  <c:v>4982.67</c:v>
                </c:pt>
                <c:pt idx="40">
                  <c:v>5848.79</c:v>
                </c:pt>
                <c:pt idx="41">
                  <c:v>4570.96</c:v>
                </c:pt>
                <c:pt idx="42">
                  <c:v>3497.03</c:v>
                </c:pt>
                <c:pt idx="43">
                  <c:v>3962.28</c:v>
                </c:pt>
                <c:pt idx="44">
                  <c:v>5907.92</c:v>
                </c:pt>
                <c:pt idx="45">
                  <c:v>4854.93</c:v>
                </c:pt>
                <c:pt idx="46">
                  <c:v>5205.3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439-479B-85F0-B6B7B0DB06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entiin</c:v>
                </c:pt>
              </c:strCache>
            </c:strRef>
          </c:tx>
          <c:spPr>
            <a:ln w="38100">
              <a:solidFill>
                <a:schemeClr val="accent1">
                  <a:lumMod val="60000"/>
                  <a:lumOff val="40000"/>
                </a:schemeClr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C$2:$C$50</c:f>
              <c:numCache>
                <c:formatCode>General</c:formatCode>
                <c:ptCount val="49"/>
                <c:pt idx="1">
                  <c:v>1622.76</c:v>
                </c:pt>
                <c:pt idx="2">
                  <c:v>1991.69</c:v>
                </c:pt>
                <c:pt idx="3">
                  <c:v>1945.1</c:v>
                </c:pt>
                <c:pt idx="4">
                  <c:v>2304.69</c:v>
                </c:pt>
                <c:pt idx="5">
                  <c:v>2434.21</c:v>
                </c:pt>
                <c:pt idx="6">
                  <c:v>3303.08</c:v>
                </c:pt>
                <c:pt idx="7">
                  <c:v>2523.31</c:v>
                </c:pt>
                <c:pt idx="8">
                  <c:v>2901.43</c:v>
                </c:pt>
                <c:pt idx="9">
                  <c:v>2732.28</c:v>
                </c:pt>
                <c:pt idx="10">
                  <c:v>2588.69</c:v>
                </c:pt>
                <c:pt idx="11">
                  <c:v>2388.4899999999998</c:v>
                </c:pt>
                <c:pt idx="12">
                  <c:v>3054.85</c:v>
                </c:pt>
                <c:pt idx="13">
                  <c:v>2425.4499999999998</c:v>
                </c:pt>
                <c:pt idx="14">
                  <c:v>2478.52</c:v>
                </c:pt>
                <c:pt idx="15">
                  <c:v>2463.2600000000002</c:v>
                </c:pt>
                <c:pt idx="16">
                  <c:v>2383.34</c:v>
                </c:pt>
                <c:pt idx="17">
                  <c:v>2822.33</c:v>
                </c:pt>
                <c:pt idx="18">
                  <c:v>2969.45</c:v>
                </c:pt>
                <c:pt idx="19">
                  <c:v>3289.57</c:v>
                </c:pt>
                <c:pt idx="20">
                  <c:v>2917.32</c:v>
                </c:pt>
                <c:pt idx="21">
                  <c:v>2554.4</c:v>
                </c:pt>
                <c:pt idx="22">
                  <c:v>4138.1400000000003</c:v>
                </c:pt>
                <c:pt idx="23">
                  <c:v>3433.17</c:v>
                </c:pt>
                <c:pt idx="24">
                  <c:v>2862.35</c:v>
                </c:pt>
                <c:pt idx="25">
                  <c:v>2441.19</c:v>
                </c:pt>
                <c:pt idx="26">
                  <c:v>2296.7800000000002</c:v>
                </c:pt>
                <c:pt idx="27">
                  <c:v>2293.79</c:v>
                </c:pt>
                <c:pt idx="28">
                  <c:v>2900.01</c:v>
                </c:pt>
                <c:pt idx="29">
                  <c:v>3196.13</c:v>
                </c:pt>
                <c:pt idx="30">
                  <c:v>4954.9799999999996</c:v>
                </c:pt>
                <c:pt idx="31">
                  <c:v>2961.64</c:v>
                </c:pt>
                <c:pt idx="32">
                  <c:v>5697.19</c:v>
                </c:pt>
                <c:pt idx="33">
                  <c:v>3358.54</c:v>
                </c:pt>
                <c:pt idx="34">
                  <c:v>3769.22</c:v>
                </c:pt>
                <c:pt idx="35">
                  <c:v>3967.98</c:v>
                </c:pt>
                <c:pt idx="36">
                  <c:v>4320.3100000000004</c:v>
                </c:pt>
                <c:pt idx="37">
                  <c:v>4116.6099999999997</c:v>
                </c:pt>
                <c:pt idx="38">
                  <c:v>3594.69</c:v>
                </c:pt>
                <c:pt idx="39">
                  <c:v>3318.73</c:v>
                </c:pt>
                <c:pt idx="40">
                  <c:v>4556.1400000000003</c:v>
                </c:pt>
                <c:pt idx="41">
                  <c:v>3363.23</c:v>
                </c:pt>
                <c:pt idx="42">
                  <c:v>2296.6999999999998</c:v>
                </c:pt>
                <c:pt idx="43">
                  <c:v>2792.14</c:v>
                </c:pt>
                <c:pt idx="44">
                  <c:v>3786.61</c:v>
                </c:pt>
                <c:pt idx="45">
                  <c:v>3664.09</c:v>
                </c:pt>
                <c:pt idx="46">
                  <c:v>4343.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439-479B-85F0-B6B7B0DB066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Kotimaahan</c:v>
                </c:pt>
              </c:strCache>
            </c:strRef>
          </c:tx>
          <c:spPr>
            <a:ln w="38100">
              <a:solidFill>
                <a:schemeClr val="accent2"/>
              </a:solidFill>
              <a:prstDash val="solid"/>
            </a:ln>
          </c:spPr>
          <c:marker>
            <c:symbol val="none"/>
          </c:marker>
          <c:cat>
            <c:strRef>
              <c:f>Sheet1!$A$2:$A$50</c:f>
              <c:strCache>
                <c:ptCount val="46"/>
                <c:pt idx="0">
                  <c:v>2009,IV</c:v>
                </c:pt>
                <c:pt idx="1">
                  <c:v>2010,I</c:v>
                </c:pt>
                <c:pt idx="5">
                  <c:v>2011,I</c:v>
                </c:pt>
                <c:pt idx="9">
                  <c:v>2012,I</c:v>
                </c:pt>
                <c:pt idx="13">
                  <c:v>2013,I</c:v>
                </c:pt>
                <c:pt idx="17">
                  <c:v>2014,I</c:v>
                </c:pt>
                <c:pt idx="21">
                  <c:v>2015,I</c:v>
                </c:pt>
                <c:pt idx="25">
                  <c:v>2016,I</c:v>
                </c:pt>
                <c:pt idx="29">
                  <c:v>2017,I</c:v>
                </c:pt>
                <c:pt idx="33">
                  <c:v>2018,I</c:v>
                </c:pt>
                <c:pt idx="37">
                  <c:v>2019,I</c:v>
                </c:pt>
                <c:pt idx="41">
                  <c:v>2020,I</c:v>
                </c:pt>
                <c:pt idx="45">
                  <c:v>2021,I</c:v>
                </c:pt>
              </c:strCache>
            </c:strRef>
          </c:cat>
          <c:val>
            <c:numRef>
              <c:f>Sheet1!$D$2:$D$50</c:f>
              <c:numCache>
                <c:formatCode>General</c:formatCode>
                <c:ptCount val="49"/>
                <c:pt idx="1">
                  <c:v>598.51</c:v>
                </c:pt>
                <c:pt idx="2">
                  <c:v>732.73</c:v>
                </c:pt>
                <c:pt idx="3">
                  <c:v>524.29</c:v>
                </c:pt>
                <c:pt idx="4">
                  <c:v>1004.31</c:v>
                </c:pt>
                <c:pt idx="5">
                  <c:v>1087.6600000000001</c:v>
                </c:pt>
                <c:pt idx="6">
                  <c:v>1149.27</c:v>
                </c:pt>
                <c:pt idx="7">
                  <c:v>813.45</c:v>
                </c:pt>
                <c:pt idx="8">
                  <c:v>968.46</c:v>
                </c:pt>
                <c:pt idx="9">
                  <c:v>971.34</c:v>
                </c:pt>
                <c:pt idx="10">
                  <c:v>958.59</c:v>
                </c:pt>
                <c:pt idx="11">
                  <c:v>849.01</c:v>
                </c:pt>
                <c:pt idx="12">
                  <c:v>916.3</c:v>
                </c:pt>
                <c:pt idx="13">
                  <c:v>810.73</c:v>
                </c:pt>
                <c:pt idx="14">
                  <c:v>1049.3699999999999</c:v>
                </c:pt>
                <c:pt idx="15">
                  <c:v>788.42</c:v>
                </c:pt>
                <c:pt idx="16">
                  <c:v>873.64</c:v>
                </c:pt>
                <c:pt idx="17">
                  <c:v>1149.1600000000001</c:v>
                </c:pt>
                <c:pt idx="18">
                  <c:v>1335.8</c:v>
                </c:pt>
                <c:pt idx="19">
                  <c:v>1725.54</c:v>
                </c:pt>
                <c:pt idx="20">
                  <c:v>1102.1400000000001</c:v>
                </c:pt>
                <c:pt idx="21">
                  <c:v>1060.21</c:v>
                </c:pt>
                <c:pt idx="22">
                  <c:v>1500.04</c:v>
                </c:pt>
                <c:pt idx="23">
                  <c:v>847.11</c:v>
                </c:pt>
                <c:pt idx="24">
                  <c:v>1179.71</c:v>
                </c:pt>
                <c:pt idx="25">
                  <c:v>1243.57</c:v>
                </c:pt>
                <c:pt idx="26">
                  <c:v>1128.94</c:v>
                </c:pt>
                <c:pt idx="27">
                  <c:v>975.28</c:v>
                </c:pt>
                <c:pt idx="28">
                  <c:v>1433.45</c:v>
                </c:pt>
                <c:pt idx="29">
                  <c:v>1091.03</c:v>
                </c:pt>
                <c:pt idx="30">
                  <c:v>1136.28</c:v>
                </c:pt>
                <c:pt idx="31">
                  <c:v>1000.85</c:v>
                </c:pt>
                <c:pt idx="32">
                  <c:v>1702.7</c:v>
                </c:pt>
                <c:pt idx="33">
                  <c:v>1664.93</c:v>
                </c:pt>
                <c:pt idx="34">
                  <c:v>1212.8499999999999</c:v>
                </c:pt>
                <c:pt idx="35">
                  <c:v>1092.22</c:v>
                </c:pt>
                <c:pt idx="36">
                  <c:v>1438.13</c:v>
                </c:pt>
                <c:pt idx="37">
                  <c:v>1547.42</c:v>
                </c:pt>
                <c:pt idx="38">
                  <c:v>1563.01</c:v>
                </c:pt>
                <c:pt idx="39">
                  <c:v>1663.94</c:v>
                </c:pt>
                <c:pt idx="40">
                  <c:v>1292.6500000000001</c:v>
                </c:pt>
                <c:pt idx="41">
                  <c:v>1207.74</c:v>
                </c:pt>
                <c:pt idx="42">
                  <c:v>1200.3399999999999</c:v>
                </c:pt>
                <c:pt idx="43">
                  <c:v>1170.1400000000001</c:v>
                </c:pt>
                <c:pt idx="44">
                  <c:v>2121.3200000000002</c:v>
                </c:pt>
                <c:pt idx="45">
                  <c:v>1190.8399999999999</c:v>
                </c:pt>
                <c:pt idx="46">
                  <c:v>861.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439-479B-85F0-B6B7B0DB06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69111064"/>
        <c:axId val="369111456"/>
      </c:lineChart>
      <c:catAx>
        <c:axId val="369111064"/>
        <c:scaling>
          <c:orientation val="minMax"/>
        </c:scaling>
        <c:delete val="0"/>
        <c:axPos val="b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General" sourceLinked="1"/>
        <c:majorTickMark val="out"/>
        <c:minorTickMark val="none"/>
        <c:tickLblPos val="none"/>
        <c:spPr>
          <a:ln w="2843">
            <a:solidFill>
              <a:schemeClr val="tx1"/>
            </a:solidFill>
            <a:prstDash val="solid"/>
          </a:ln>
        </c:spPr>
        <c:txPr>
          <a:bodyPr rot="-2700000" vert="horz"/>
          <a:lstStyle/>
          <a:p>
            <a:pPr>
              <a:defRPr sz="1948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fi-FI"/>
          </a:p>
        </c:txPr>
        <c:crossAx val="369111456"/>
        <c:crosses val="autoZero"/>
        <c:auto val="1"/>
        <c:lblAlgn val="ctr"/>
        <c:lblOffset val="100"/>
        <c:tickLblSkip val="3"/>
        <c:tickMarkSkip val="4"/>
        <c:noMultiLvlLbl val="0"/>
      </c:catAx>
      <c:valAx>
        <c:axId val="369111456"/>
        <c:scaling>
          <c:orientation val="minMax"/>
          <c:max val="7500"/>
          <c:min val="0"/>
        </c:scaling>
        <c:delete val="0"/>
        <c:axPos val="l"/>
        <c:majorGridlines>
          <c:spPr>
            <a:ln w="3175">
              <a:solidFill>
                <a:schemeClr val="tx1"/>
              </a:solidFill>
              <a:prstDash val="dash"/>
            </a:ln>
          </c:spPr>
        </c:majorGridlines>
        <c:numFmt formatCode="#,##0" sourceLinked="0"/>
        <c:majorTickMark val="out"/>
        <c:minorTickMark val="none"/>
        <c:tickLblPos val="nextTo"/>
        <c:spPr>
          <a:ln w="2843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50" b="0" i="0" u="none" strike="noStrike" baseline="0">
                <a:solidFill>
                  <a:schemeClr val="tx2"/>
                </a:solidFill>
                <a:latin typeface="Verdana" panose="020B0604030504040204" pitchFamily="34" charset="0"/>
                <a:ea typeface="Arial"/>
                <a:cs typeface="Arial"/>
              </a:defRPr>
            </a:pPr>
            <a:endParaRPr lang="fi-FI"/>
          </a:p>
        </c:txPr>
        <c:crossAx val="369111064"/>
        <c:crosses val="autoZero"/>
        <c:crossBetween val="midCat"/>
        <c:majorUnit val="500"/>
        <c:minorUnit val="500"/>
      </c:valAx>
      <c:spPr>
        <a:noFill/>
        <a:ln w="11372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86988108704736133"/>
          <c:y val="0.19757124334097242"/>
          <c:w val="0.13011891295263864"/>
          <c:h val="0.61234378114075594"/>
        </c:manualLayout>
      </c:layout>
      <c:overlay val="0"/>
      <c:spPr>
        <a:solidFill>
          <a:schemeClr val="bg1"/>
        </a:solidFill>
        <a:ln w="2843">
          <a:noFill/>
          <a:prstDash val="solid"/>
        </a:ln>
      </c:spPr>
      <c:txPr>
        <a:bodyPr/>
        <a:lstStyle/>
        <a:p>
          <a:pPr>
            <a:defRPr sz="1050" b="0" i="0" u="none" strike="noStrike" baseline="0">
              <a:solidFill>
                <a:schemeClr val="tx2"/>
              </a:solidFill>
              <a:latin typeface="Verdana" panose="020B0604030504040204" pitchFamily="34" charset="0"/>
              <a:ea typeface="Arial"/>
              <a:cs typeface="Arial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948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fi-FI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i-FI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ul1!$B$1</c:f>
              <c:strCache>
                <c:ptCount val="1"/>
                <c:pt idx="0">
                  <c:v>Henkilöstömäärän muutos edelliseen neljännekseen verrattuna</c:v>
                </c:pt>
              </c:strCache>
            </c:strRef>
          </c:tx>
          <c:spPr>
            <a:solidFill>
              <a:srgbClr val="141F94"/>
            </a:solidFill>
            <a:ln>
              <a:noFill/>
            </a:ln>
            <a:effectLst/>
          </c:spPr>
          <c:invertIfNegative val="0"/>
          <c:cat>
            <c:strRef>
              <c:f>Taul1!$A$4:$A$29</c:f>
              <c:strCache>
                <c:ptCount val="26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</c:strCache>
            </c:strRef>
          </c:cat>
          <c:val>
            <c:numRef>
              <c:f>Taul1!$B$4:$B$29</c:f>
              <c:numCache>
                <c:formatCode>General</c:formatCode>
                <c:ptCount val="26"/>
                <c:pt idx="0">
                  <c:v>500</c:v>
                </c:pt>
                <c:pt idx="1">
                  <c:v>1464.6108658704907</c:v>
                </c:pt>
                <c:pt idx="2">
                  <c:v>-1043.8445894536562</c:v>
                </c:pt>
                <c:pt idx="3">
                  <c:v>-2242.6661510239355</c:v>
                </c:pt>
                <c:pt idx="4">
                  <c:v>-423.86039099266054</c:v>
                </c:pt>
                <c:pt idx="5">
                  <c:v>783.61812865873799</c:v>
                </c:pt>
                <c:pt idx="6">
                  <c:v>-1880.5028571592993</c:v>
                </c:pt>
                <c:pt idx="7">
                  <c:v>577.85174448625185</c:v>
                </c:pt>
                <c:pt idx="8">
                  <c:v>2477</c:v>
                </c:pt>
                <c:pt idx="9">
                  <c:v>3855</c:v>
                </c:pt>
                <c:pt idx="10">
                  <c:v>1906</c:v>
                </c:pt>
                <c:pt idx="11">
                  <c:v>1556</c:v>
                </c:pt>
                <c:pt idx="12">
                  <c:v>2395</c:v>
                </c:pt>
                <c:pt idx="13">
                  <c:v>4631</c:v>
                </c:pt>
                <c:pt idx="14" formatCode="#,##0">
                  <c:v>4578</c:v>
                </c:pt>
                <c:pt idx="15">
                  <c:v>756</c:v>
                </c:pt>
                <c:pt idx="16">
                  <c:v>3414</c:v>
                </c:pt>
                <c:pt idx="17">
                  <c:v>2632</c:v>
                </c:pt>
                <c:pt idx="18">
                  <c:v>1555</c:v>
                </c:pt>
                <c:pt idx="19">
                  <c:v>-757</c:v>
                </c:pt>
                <c:pt idx="20">
                  <c:v>-379</c:v>
                </c:pt>
                <c:pt idx="21">
                  <c:v>-2512</c:v>
                </c:pt>
                <c:pt idx="22">
                  <c:v>-1443</c:v>
                </c:pt>
                <c:pt idx="23" formatCode="#,##0">
                  <c:v>-1674.7485992709408</c:v>
                </c:pt>
                <c:pt idx="24">
                  <c:v>1159</c:v>
                </c:pt>
                <c:pt idx="25">
                  <c:v>30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0CD-41A4-BE34-30E6294963B8}"/>
            </c:ext>
          </c:extLst>
        </c:ser>
        <c:ser>
          <c:idx val="1"/>
          <c:order val="1"/>
          <c:tx>
            <c:strRef>
              <c:f>Taul1!$C$1</c:f>
              <c:strCache>
                <c:ptCount val="1"/>
                <c:pt idx="0">
                  <c:v>Neljänneksen aikana rekrytoitujen määrä</c:v>
                </c:pt>
              </c:strCache>
            </c:strRef>
          </c:tx>
          <c:spPr>
            <a:solidFill>
              <a:srgbClr val="FF805C"/>
            </a:solidFill>
            <a:ln>
              <a:noFill/>
            </a:ln>
            <a:effectLst/>
          </c:spPr>
          <c:invertIfNegative val="0"/>
          <c:cat>
            <c:strRef>
              <c:f>Taul1!$A$4:$A$29</c:f>
              <c:strCache>
                <c:ptCount val="26"/>
                <c:pt idx="0">
                  <c:v>2015Q1</c:v>
                </c:pt>
                <c:pt idx="1">
                  <c:v>2015Q2</c:v>
                </c:pt>
                <c:pt idx="2">
                  <c:v>2015Q3</c:v>
                </c:pt>
                <c:pt idx="3">
                  <c:v>2015Q4</c:v>
                </c:pt>
                <c:pt idx="4">
                  <c:v>2016Q1</c:v>
                </c:pt>
                <c:pt idx="5">
                  <c:v>2016Q2</c:v>
                </c:pt>
                <c:pt idx="6">
                  <c:v>2016Q3</c:v>
                </c:pt>
                <c:pt idx="7">
                  <c:v>2016Q4</c:v>
                </c:pt>
                <c:pt idx="8">
                  <c:v>2017Q1</c:v>
                </c:pt>
                <c:pt idx="9">
                  <c:v>2017Q2</c:v>
                </c:pt>
                <c:pt idx="10">
                  <c:v>2017Q3</c:v>
                </c:pt>
                <c:pt idx="11">
                  <c:v>2017Q4</c:v>
                </c:pt>
                <c:pt idx="12">
                  <c:v>2018Q1</c:v>
                </c:pt>
                <c:pt idx="13">
                  <c:v>2018Q2</c:v>
                </c:pt>
                <c:pt idx="14">
                  <c:v>2018Q3</c:v>
                </c:pt>
                <c:pt idx="15">
                  <c:v>2018Q4</c:v>
                </c:pt>
                <c:pt idx="16">
                  <c:v>2019Q1</c:v>
                </c:pt>
                <c:pt idx="17">
                  <c:v>2019Q2</c:v>
                </c:pt>
                <c:pt idx="18">
                  <c:v>2019Q3</c:v>
                </c:pt>
                <c:pt idx="19">
                  <c:v>2019Q4</c:v>
                </c:pt>
                <c:pt idx="20">
                  <c:v>2020Q1</c:v>
                </c:pt>
                <c:pt idx="21">
                  <c:v>2020Q2</c:v>
                </c:pt>
                <c:pt idx="22">
                  <c:v>2020Q3</c:v>
                </c:pt>
                <c:pt idx="23">
                  <c:v>2020Q4</c:v>
                </c:pt>
                <c:pt idx="24">
                  <c:v>2021Q1</c:v>
                </c:pt>
                <c:pt idx="25">
                  <c:v>2021Q2</c:v>
                </c:pt>
              </c:strCache>
            </c:strRef>
          </c:cat>
          <c:val>
            <c:numRef>
              <c:f>Taul1!$C$4:$C$29</c:f>
              <c:numCache>
                <c:formatCode>#,##0</c:formatCode>
                <c:ptCount val="26"/>
                <c:pt idx="0">
                  <c:v>7851.4313289360571</c:v>
                </c:pt>
                <c:pt idx="1">
                  <c:v>6685.9122554600544</c:v>
                </c:pt>
                <c:pt idx="2" formatCode="General">
                  <c:v>7700</c:v>
                </c:pt>
                <c:pt idx="3">
                  <c:v>6176.3555772662821</c:v>
                </c:pt>
                <c:pt idx="4">
                  <c:v>7537.782188740196</c:v>
                </c:pt>
                <c:pt idx="5">
                  <c:v>6857.0390325418875</c:v>
                </c:pt>
                <c:pt idx="6" formatCode="General">
                  <c:v>6818</c:v>
                </c:pt>
                <c:pt idx="7" formatCode="General">
                  <c:v>7300</c:v>
                </c:pt>
                <c:pt idx="8" formatCode="General">
                  <c:v>11000</c:v>
                </c:pt>
                <c:pt idx="9" formatCode="General">
                  <c:v>11600</c:v>
                </c:pt>
                <c:pt idx="10" formatCode="General">
                  <c:v>10900</c:v>
                </c:pt>
                <c:pt idx="11" formatCode="General">
                  <c:v>9000</c:v>
                </c:pt>
                <c:pt idx="12">
                  <c:v>11000</c:v>
                </c:pt>
                <c:pt idx="13" formatCode="General">
                  <c:v>14600</c:v>
                </c:pt>
                <c:pt idx="14" formatCode="General">
                  <c:v>14700</c:v>
                </c:pt>
                <c:pt idx="15" formatCode="General">
                  <c:v>9600</c:v>
                </c:pt>
                <c:pt idx="16">
                  <c:v>12400</c:v>
                </c:pt>
                <c:pt idx="17" formatCode="General">
                  <c:v>11400</c:v>
                </c:pt>
                <c:pt idx="18" formatCode="General">
                  <c:v>9400</c:v>
                </c:pt>
                <c:pt idx="19" formatCode="General">
                  <c:v>7300</c:v>
                </c:pt>
                <c:pt idx="20">
                  <c:v>10400</c:v>
                </c:pt>
                <c:pt idx="21" formatCode="General">
                  <c:v>5900</c:v>
                </c:pt>
                <c:pt idx="22" formatCode="General">
                  <c:v>5500</c:v>
                </c:pt>
                <c:pt idx="23" formatCode="General">
                  <c:v>6500</c:v>
                </c:pt>
                <c:pt idx="24" formatCode="General">
                  <c:v>9500</c:v>
                </c:pt>
                <c:pt idx="25" formatCode="General">
                  <c:v>1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0CD-41A4-BE34-30E6294963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1"/>
        <c:axId val="368210920"/>
        <c:axId val="368211704"/>
      </c:barChart>
      <c:catAx>
        <c:axId val="368210920"/>
        <c:scaling>
          <c:orientation val="minMax"/>
        </c:scaling>
        <c:delete val="0"/>
        <c:axPos val="b"/>
        <c:numFmt formatCode="General" sourceLinked="1"/>
        <c:majorTickMark val="cross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fi-FI"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1704"/>
        <c:crosses val="autoZero"/>
        <c:auto val="1"/>
        <c:lblAlgn val="ctr"/>
        <c:lblOffset val="0"/>
        <c:noMultiLvlLbl val="0"/>
      </c:catAx>
      <c:valAx>
        <c:axId val="368211704"/>
        <c:scaling>
          <c:orientation val="minMax"/>
          <c:min val="-4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fi-FI"/>
          </a:p>
        </c:txPr>
        <c:crossAx val="3682109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1876346646111267E-2"/>
          <c:y val="0.91633433036153356"/>
          <c:w val="0.95491074975467694"/>
          <c:h val="6.603157705948033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lang="fi-FI" sz="1050" b="0" i="0" u="none" strike="noStrike" kern="1200" baseline="0">
              <a:solidFill>
                <a:srgbClr val="000000"/>
              </a:solidFill>
              <a:latin typeface="+mn-lt"/>
              <a:ea typeface="+mn-ea"/>
              <a:cs typeface="+mn-cs"/>
            </a:defRPr>
          </a:pPr>
          <a:endParaRPr lang="fi-FI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i-FI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200"/>
            </a:lvl1pPr>
          </a:lstStyle>
          <a:p>
            <a:r>
              <a:rPr lang="en-US" sz="11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knologiateollisuus</a:t>
            </a:r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200"/>
            </a:lvl1pPr>
          </a:lstStyle>
          <a:p>
            <a:fld id="{6F2C89C3-1639-C64F-B7DC-4038F10D3C80}" type="slidenum">
              <a: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US" sz="11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375265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32" tIns="45716" rIns="91432" bIns="45716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l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32" tIns="45716" rIns="91432" bIns="45716" rtlCol="0" anchor="b"/>
          <a:lstStyle>
            <a:lvl1pPr algn="r">
              <a:defRPr sz="11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B5A0B3B4-F971-4AD3-B530-DE860EFC07D2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248243881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1pPr>
    <a:lvl2pPr marL="339932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2pPr>
    <a:lvl3pPr marL="679871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3pPr>
    <a:lvl4pPr marL="1019807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4pPr>
    <a:lvl5pPr marL="1359744" algn="l" defTabSz="679871" rtl="0" eaLnBrk="1" latinLnBrk="0" hangingPunct="1">
      <a:defRPr sz="900" kern="1200">
        <a:solidFill>
          <a:schemeClr val="tx1"/>
        </a:solidFill>
        <a:latin typeface="Verdana" panose="020B0604030504040204" pitchFamily="34" charset="0"/>
        <a:ea typeface="Verdana" panose="020B0604030504040204" pitchFamily="34" charset="0"/>
        <a:cs typeface="Verdana" panose="020B0604030504040204" pitchFamily="34" charset="0"/>
      </a:defRPr>
    </a:lvl5pPr>
    <a:lvl6pPr marL="1699681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6pPr>
    <a:lvl7pPr marL="2039614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7pPr>
    <a:lvl8pPr marL="2379548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8pPr>
    <a:lvl9pPr marL="2719486" algn="l" defTabSz="679871" rtl="0" eaLnBrk="1" latinLnBrk="0" hangingPunct="1">
      <a:defRPr sz="89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2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59678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4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614260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5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114127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545540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sz="1400" dirty="0"/>
          </a:p>
        </p:txBody>
      </p:sp>
      <p:sp>
        <p:nvSpPr>
          <p:cNvPr id="4" name="Alatunnisteen paikkamerkki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5" name="Dian numeron paikkamerkki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A0B3B4-F971-4AD3-B530-DE860EFC07D2}" type="slidenum">
              <a:rPr lang="fi-FI" smtClean="0"/>
              <a:pPr/>
              <a:t>11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68136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Layouts/_rels/slideLayout3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26" Type="http://schemas.openxmlformats.org/officeDocument/2006/relationships/image" Target="../media/image28.png"/><Relationship Id="rId39" Type="http://schemas.openxmlformats.org/officeDocument/2006/relationships/image" Target="../media/image41.png"/><Relationship Id="rId21" Type="http://schemas.openxmlformats.org/officeDocument/2006/relationships/image" Target="../media/image23.png"/><Relationship Id="rId34" Type="http://schemas.openxmlformats.org/officeDocument/2006/relationships/image" Target="../media/image36.png"/><Relationship Id="rId42" Type="http://schemas.openxmlformats.org/officeDocument/2006/relationships/image" Target="../media/image44.png"/><Relationship Id="rId47" Type="http://schemas.openxmlformats.org/officeDocument/2006/relationships/image" Target="../media/image49.png"/><Relationship Id="rId50" Type="http://schemas.openxmlformats.org/officeDocument/2006/relationships/image" Target="../media/image52.png"/><Relationship Id="rId55" Type="http://schemas.openxmlformats.org/officeDocument/2006/relationships/image" Target="../media/image57.png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17" Type="http://schemas.openxmlformats.org/officeDocument/2006/relationships/image" Target="../media/image19.png"/><Relationship Id="rId25" Type="http://schemas.openxmlformats.org/officeDocument/2006/relationships/image" Target="../media/image27.png"/><Relationship Id="rId33" Type="http://schemas.openxmlformats.org/officeDocument/2006/relationships/image" Target="../media/image35.png"/><Relationship Id="rId38" Type="http://schemas.openxmlformats.org/officeDocument/2006/relationships/image" Target="../media/image40.png"/><Relationship Id="rId46" Type="http://schemas.openxmlformats.org/officeDocument/2006/relationships/image" Target="../media/image48.png"/><Relationship Id="rId59" Type="http://schemas.openxmlformats.org/officeDocument/2006/relationships/image" Target="../media/image61.emf"/><Relationship Id="rId2" Type="http://schemas.openxmlformats.org/officeDocument/2006/relationships/tags" Target="../tags/tag13.xml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29" Type="http://schemas.openxmlformats.org/officeDocument/2006/relationships/image" Target="../media/image31.png"/><Relationship Id="rId41" Type="http://schemas.openxmlformats.org/officeDocument/2006/relationships/image" Target="../media/image43.png"/><Relationship Id="rId54" Type="http://schemas.openxmlformats.org/officeDocument/2006/relationships/image" Target="../media/image56.png"/><Relationship Id="rId1" Type="http://schemas.openxmlformats.org/officeDocument/2006/relationships/tags" Target="../tags/tag12.xml"/><Relationship Id="rId6" Type="http://schemas.openxmlformats.org/officeDocument/2006/relationships/image" Target="../media/image8.png"/><Relationship Id="rId11" Type="http://schemas.openxmlformats.org/officeDocument/2006/relationships/image" Target="../media/image13.png"/><Relationship Id="rId24" Type="http://schemas.openxmlformats.org/officeDocument/2006/relationships/image" Target="../media/image26.png"/><Relationship Id="rId32" Type="http://schemas.openxmlformats.org/officeDocument/2006/relationships/image" Target="../media/image34.png"/><Relationship Id="rId37" Type="http://schemas.openxmlformats.org/officeDocument/2006/relationships/image" Target="../media/image39.png"/><Relationship Id="rId40" Type="http://schemas.openxmlformats.org/officeDocument/2006/relationships/image" Target="../media/image42.png"/><Relationship Id="rId45" Type="http://schemas.openxmlformats.org/officeDocument/2006/relationships/image" Target="../media/image47.png"/><Relationship Id="rId53" Type="http://schemas.openxmlformats.org/officeDocument/2006/relationships/image" Target="../media/image55.png"/><Relationship Id="rId58" Type="http://schemas.openxmlformats.org/officeDocument/2006/relationships/image" Target="../media/image60.emf"/><Relationship Id="rId5" Type="http://schemas.openxmlformats.org/officeDocument/2006/relationships/image" Target="../media/image6.emf"/><Relationship Id="rId15" Type="http://schemas.openxmlformats.org/officeDocument/2006/relationships/image" Target="../media/image17.png"/><Relationship Id="rId23" Type="http://schemas.openxmlformats.org/officeDocument/2006/relationships/image" Target="../media/image25.png"/><Relationship Id="rId28" Type="http://schemas.openxmlformats.org/officeDocument/2006/relationships/image" Target="../media/image30.png"/><Relationship Id="rId36" Type="http://schemas.openxmlformats.org/officeDocument/2006/relationships/image" Target="../media/image38.png"/><Relationship Id="rId49" Type="http://schemas.openxmlformats.org/officeDocument/2006/relationships/image" Target="../media/image51.png"/><Relationship Id="rId57" Type="http://schemas.openxmlformats.org/officeDocument/2006/relationships/image" Target="../media/image59.png"/><Relationship Id="rId10" Type="http://schemas.openxmlformats.org/officeDocument/2006/relationships/image" Target="../media/image12.png"/><Relationship Id="rId19" Type="http://schemas.openxmlformats.org/officeDocument/2006/relationships/image" Target="../media/image21.png"/><Relationship Id="rId31" Type="http://schemas.openxmlformats.org/officeDocument/2006/relationships/image" Target="../media/image33.png"/><Relationship Id="rId44" Type="http://schemas.openxmlformats.org/officeDocument/2006/relationships/image" Target="../media/image46.png"/><Relationship Id="rId52" Type="http://schemas.openxmlformats.org/officeDocument/2006/relationships/image" Target="../media/image54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11.png"/><Relationship Id="rId14" Type="http://schemas.openxmlformats.org/officeDocument/2006/relationships/image" Target="../media/image16.png"/><Relationship Id="rId22" Type="http://schemas.openxmlformats.org/officeDocument/2006/relationships/image" Target="../media/image24.png"/><Relationship Id="rId27" Type="http://schemas.openxmlformats.org/officeDocument/2006/relationships/image" Target="../media/image29.png"/><Relationship Id="rId30" Type="http://schemas.openxmlformats.org/officeDocument/2006/relationships/image" Target="../media/image32.png"/><Relationship Id="rId35" Type="http://schemas.openxmlformats.org/officeDocument/2006/relationships/image" Target="../media/image37.png"/><Relationship Id="rId43" Type="http://schemas.openxmlformats.org/officeDocument/2006/relationships/image" Target="../media/image45.png"/><Relationship Id="rId48" Type="http://schemas.openxmlformats.org/officeDocument/2006/relationships/image" Target="../media/image50.png"/><Relationship Id="rId56" Type="http://schemas.openxmlformats.org/officeDocument/2006/relationships/image" Target="../media/image58.png"/><Relationship Id="rId8" Type="http://schemas.openxmlformats.org/officeDocument/2006/relationships/image" Target="../media/image10.png"/><Relationship Id="rId51" Type="http://schemas.openxmlformats.org/officeDocument/2006/relationships/image" Target="../media/image53.png"/><Relationship Id="rId3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69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411044"/>
      </p:ext>
    </p:extLst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B4512B-9268-4DA6-A4DE-9BAC66E0AE0F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262288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4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5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7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AF34066-C849-43D6-AD11-EC5B4E0FCE81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8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8088662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inkki">
    <p:bg>
      <p:bgPr>
        <a:solidFill>
          <a:srgbClr val="FF00B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1DAFD31-6E2D-43E4-B45F-A91916303127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5042171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05A29F8-3631-43D8-937B-CB2D984A1FF3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64181846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mandariini">
    <p:bg>
      <p:bgPr>
        <a:solidFill>
          <a:srgbClr val="FF8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A1FFB15-5351-4C69-B4D2-8C0154A2BCAF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45300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B4C9FC2-AB49-4BC7-8E34-F35776C6F0E4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6785004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omena">
    <p:bg>
      <p:bgPr>
        <a:solidFill>
          <a:srgbClr val="85E8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FD90D18-063C-4F97-88EB-7B998FCF1C84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5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982625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rgbClr val="000000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0F905F96-8735-44CC-A79D-9FF4592D6200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549499557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truuna">
    <p:bg>
      <p:bgPr>
        <a:solidFill>
          <a:srgbClr val="FFFF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9775427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1F9AB61F-25F5-4BAC-AFD2-7CF6AA8759C3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21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7171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22" name="Tekstin paikkamerkki 28"/>
          <p:cNvSpPr>
            <a:spLocks noGrp="1"/>
          </p:cNvSpPr>
          <p:nvPr>
            <p:ph type="body" sz="quarter" idx="20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29016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881898"/>
            <a:ext cx="6977283" cy="1165268"/>
          </a:xfrm>
          <a:prstGeom prst="rect">
            <a:avLst/>
          </a:prstGeom>
        </p:spPr>
        <p:txBody>
          <a:bodyPr>
            <a:normAutofit/>
          </a:bodyPr>
          <a:lstStyle>
            <a:lvl1pPr marL="108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6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pää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553C366-6A2C-43B9-A437-B827E0484441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54039037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2-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4E9C680B-B035-4481-9C89-9B8DCFA07DE9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1"/>
          </p:nvPr>
        </p:nvSpPr>
        <p:spPr>
          <a:xfrm>
            <a:off x="4449254" y="1565735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17" hasCustomPrompt="1"/>
          </p:nvPr>
        </p:nvSpPr>
        <p:spPr>
          <a:xfrm>
            <a:off x="1072800" y="1102950"/>
            <a:ext cx="71712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8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53580326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26EC10B7-6068-4592-8DF6-C21B5E169149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3"/>
            <a:ext cx="55296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55296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6775200" y="0"/>
            <a:ext cx="23688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12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8566840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kuvall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B470C21F-BEA7-4001-A59E-ED99F75C48EF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5090400" y="0"/>
            <a:ext cx="4053606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8" name="Tekstin paikkamerkki 2"/>
          <p:cNvSpPr>
            <a:spLocks noGrp="1"/>
          </p:cNvSpPr>
          <p:nvPr>
            <p:ph idx="19"/>
          </p:nvPr>
        </p:nvSpPr>
        <p:spPr>
          <a:xfrm>
            <a:off x="1072800" y="158455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7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800" y="1104452"/>
            <a:ext cx="3844800" cy="365682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03216163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pelkälle kuva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Kuvan paikkamerkki 6"/>
          <p:cNvSpPr>
            <a:spLocks noGrp="1"/>
          </p:cNvSpPr>
          <p:nvPr>
            <p:ph type="pic" sz="quarter" idx="20"/>
          </p:nvPr>
        </p:nvSpPr>
        <p:spPr>
          <a:xfrm>
            <a:off x="0" y="0"/>
            <a:ext cx="91440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6411705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9" name="Tekstin paikkamerkki 3"/>
          <p:cNvSpPr>
            <a:spLocks noGrp="1"/>
          </p:cNvSpPr>
          <p:nvPr>
            <p:ph type="body" sz="quarter" idx="18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type="body" sz="quarter" idx="23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1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20" name="Sisällön paikkamerkki 4"/>
          <p:cNvSpPr>
            <a:spLocks noGrp="1"/>
          </p:cNvSpPr>
          <p:nvPr>
            <p:ph sz="quarter" idx="17"/>
          </p:nvPr>
        </p:nvSpPr>
        <p:spPr>
          <a:xfrm>
            <a:off x="1201739" y="1584200"/>
            <a:ext cx="6739862" cy="3010469"/>
          </a:xfrm>
        </p:spPr>
        <p:txBody>
          <a:bodyPr/>
          <a:lstStyle>
            <a:lvl1pPr marL="241200" indent="-212400">
              <a:buFont typeface="Arial" panose="020B0604020202020204" pitchFamily="34" charset="0"/>
              <a:buChar char="•"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2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2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C26F1C2C-1F3D-4324-8DB1-2B3A728EB293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26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</p:spTree>
    <p:extLst>
      <p:ext uri="{BB962C8B-B14F-4D97-AF65-F5344CB8AC3E}">
        <p14:creationId xmlns:p14="http://schemas.microsoft.com/office/powerpoint/2010/main" val="87594283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tekstille ja tauluko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00B1868B-515C-4A84-A79A-DDEC623D6CDB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  <p:sp>
        <p:nvSpPr>
          <p:cNvPr id="9" name="Tekstin paikkamerkki 28"/>
          <p:cNvSpPr>
            <a:spLocks noGrp="1"/>
          </p:cNvSpPr>
          <p:nvPr>
            <p:ph type="body" sz="quarter" idx="21" hasCustomPrompt="1"/>
          </p:nvPr>
        </p:nvSpPr>
        <p:spPr>
          <a:xfrm>
            <a:off x="1072799" y="1102950"/>
            <a:ext cx="6868801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1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  <p:sp>
        <p:nvSpPr>
          <p:cNvPr id="13" name="Sisällön paikkamerkki 4"/>
          <p:cNvSpPr>
            <a:spLocks noGrp="1"/>
          </p:cNvSpPr>
          <p:nvPr>
            <p:ph sz="quarter" idx="23" hasCustomPrompt="1"/>
          </p:nvPr>
        </p:nvSpPr>
        <p:spPr>
          <a:xfrm>
            <a:off x="4572001" y="1584200"/>
            <a:ext cx="3369600" cy="289255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 dirty="0"/>
              <a:t>Lisää objekti</a:t>
            </a:r>
          </a:p>
        </p:txBody>
      </p:sp>
      <p:sp>
        <p:nvSpPr>
          <p:cNvPr id="12" name="Tekstin paikkamerkki 2"/>
          <p:cNvSpPr>
            <a:spLocks noGrp="1"/>
          </p:cNvSpPr>
          <p:nvPr>
            <p:ph idx="19"/>
          </p:nvPr>
        </p:nvSpPr>
        <p:spPr>
          <a:xfrm>
            <a:off x="1072800" y="1582404"/>
            <a:ext cx="3499200" cy="289434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3pPr>
            <a:lvl4pPr indent="-15840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SzPct val="125000"/>
              <a:defRPr sz="105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</p:spTree>
    <p:extLst>
      <p:ext uri="{BB962C8B-B14F-4D97-AF65-F5344CB8AC3E}">
        <p14:creationId xmlns:p14="http://schemas.microsoft.com/office/powerpoint/2010/main" val="2687386369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ältödia isoille taulukoi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252000" y="282150"/>
            <a:ext cx="7992000" cy="648000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7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8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9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5" name="Sisällön paikkamerkki 4"/>
          <p:cNvSpPr>
            <a:spLocks noGrp="1"/>
          </p:cNvSpPr>
          <p:nvPr>
            <p:ph sz="quarter" idx="17"/>
          </p:nvPr>
        </p:nvSpPr>
        <p:spPr>
          <a:xfrm>
            <a:off x="381000" y="1103313"/>
            <a:ext cx="8391525" cy="354171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71332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2pPr>
            <a:lvl3pPr marL="78619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3pPr>
            <a:lvl4pPr marL="1109451" indent="0">
              <a:lnSpc>
                <a:spcPts val="1800"/>
              </a:lnSpc>
              <a:spcBef>
                <a:spcPts val="200"/>
              </a:spcBef>
              <a:spcAft>
                <a:spcPts val="200"/>
              </a:spcAft>
              <a:buFontTx/>
              <a:buNone/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6" name="Tekstin paikkamerkki 2"/>
          <p:cNvSpPr>
            <a:spLocks noGrp="1"/>
          </p:cNvSpPr>
          <p:nvPr>
            <p:ph type="body" sz="quarter" idx="18" hasCustomPrompt="1"/>
          </p:nvPr>
        </p:nvSpPr>
        <p:spPr>
          <a:xfrm>
            <a:off x="2334682" y="4727574"/>
            <a:ext cx="2971717" cy="165163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spc="0" baseline="0"/>
            </a:lvl1pPr>
          </a:lstStyle>
          <a:p>
            <a:pPr lvl="0"/>
            <a:r>
              <a:rPr lang="fi-FI" dirty="0"/>
              <a:t>Lähde tähän</a:t>
            </a:r>
          </a:p>
        </p:txBody>
      </p:sp>
    </p:spTree>
    <p:extLst>
      <p:ext uri="{BB962C8B-B14F-4D97-AF65-F5344CB8AC3E}">
        <p14:creationId xmlns:p14="http://schemas.microsoft.com/office/powerpoint/2010/main" val="1067460176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hjä 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uva 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3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E70C97DB-DA9C-4CFA-B970-B8599B25F3E4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7" name="Tekstin paikkamerkki 3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290513"/>
            <a:ext cx="4320000" cy="250837"/>
          </a:xfrm>
          <a:prstGeom prst="rect">
            <a:avLst/>
          </a:prstGeom>
        </p:spPr>
        <p:txBody>
          <a:bodyPr anchor="t"/>
          <a:lstStyle>
            <a:lvl1pPr marL="2520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000" b="0" kern="1200" spc="0" baseline="0">
                <a:solidFill>
                  <a:schemeClr val="tx1"/>
                </a:solidFill>
              </a:defRPr>
            </a:lvl1pPr>
            <a:lvl2pPr marL="314865" indent="0">
              <a:buFontTx/>
              <a:buNone/>
              <a:defRPr/>
            </a:lvl2pPr>
            <a:lvl3pPr marL="629724" indent="0">
              <a:buFontTx/>
              <a:buNone/>
              <a:defRPr/>
            </a:lvl3pPr>
            <a:lvl4pPr marL="944589" indent="0">
              <a:buFontTx/>
              <a:buNone/>
              <a:defRPr/>
            </a:lvl4pPr>
            <a:lvl5pPr marL="1267851" indent="0">
              <a:buFontTx/>
              <a:buNone/>
              <a:defRPr/>
            </a:lvl5pPr>
          </a:lstStyle>
          <a:p>
            <a:pPr lvl="0"/>
            <a:r>
              <a:rPr lang="en-US" dirty="0" err="1"/>
              <a:t>Väliotsikko</a:t>
            </a:r>
            <a:r>
              <a:rPr lang="en-US" dirty="0"/>
              <a:t> </a:t>
            </a:r>
            <a:r>
              <a:rPr lang="en-US" dirty="0" err="1"/>
              <a:t>yläviitteenä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583285883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alkoi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Kuva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624" y="368923"/>
            <a:ext cx="437056" cy="437032"/>
          </a:xfrm>
          <a:prstGeom prst="rect">
            <a:avLst/>
          </a:prstGeom>
        </p:spPr>
      </p:pic>
      <p:sp>
        <p:nvSpPr>
          <p:cNvPr id="14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5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/>
          <a:p>
            <a:fld id="{8D9E7F89-CFBC-40A6-849E-791F2CE17670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7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/>
          <a:p>
            <a:r>
              <a:rPr lang="fi-FI" dirty="0"/>
              <a:t>Teknologiateollisuus</a:t>
            </a:r>
          </a:p>
        </p:txBody>
      </p:sp>
      <p:sp>
        <p:nvSpPr>
          <p:cNvPr id="11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913747"/>
            <a:ext cx="7171200" cy="1176411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07341520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valkoin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rgbClr val="000000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fld id="{4D1D5393-FFB8-4AFB-965F-DF835FFEFFC2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rgbClr val="000000"/>
                </a:solidFill>
              </a:defRPr>
            </a:lvl1pPr>
            <a:lvl2pPr indent="-158400">
              <a:buSzPct val="125000"/>
              <a:defRPr sz="1300" baseline="0">
                <a:solidFill>
                  <a:srgbClr val="000000"/>
                </a:solidFill>
              </a:defRPr>
            </a:lvl2pPr>
            <a:lvl3pPr indent="-158400">
              <a:buSzPct val="125000"/>
              <a:defRPr sz="1100">
                <a:solidFill>
                  <a:srgbClr val="000000"/>
                </a:solidFill>
              </a:defRPr>
            </a:lvl3pPr>
            <a:lvl4pPr indent="-158400">
              <a:buSzPct val="125000"/>
              <a:defRPr sz="1000">
                <a:solidFill>
                  <a:srgbClr val="000000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rgbClr val="000000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2188674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9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0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2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BD49F65-936D-47C1-B476-B10D0AC9DEC4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4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56958868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42927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57151"/>
            <a:ext cx="8142287" cy="5140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819550065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SE THIS -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C0AD298-CA59-4422-8710-006C3EE08A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63369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C0AD298-CA59-4422-8710-006C3EE08A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B0157B-4570-4DCB-A111-732D5969D4B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rgbClr val="0031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304465" y="4933765"/>
            <a:ext cx="578213" cy="144215"/>
          </a:xfrm>
        </p:spPr>
        <p:txBody>
          <a:bodyPr wrap="square" lIns="0" tIns="0" rIns="0" bIns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228877"/>
            <a:ext cx="8618537" cy="285473"/>
          </a:xfrm>
        </p:spPr>
        <p:txBody>
          <a:bodyPr rIns="0"/>
          <a:lstStyle>
            <a:lvl1pPr>
              <a:defRPr sz="1800" b="1" spc="0">
                <a:latin typeface="+mn-lt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601389939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FA322E5-B71D-4377-B689-83E211BD45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71665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FA322E5-B71D-4377-B689-83E211BD45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92097" y="1160411"/>
            <a:ext cx="3637721" cy="886914"/>
          </a:xfrm>
          <a:prstGeom prst="rect">
            <a:avLst/>
          </a:prstGeom>
        </p:spPr>
        <p:txBody>
          <a:bodyPr lIns="0" tIns="0" rIns="0" bIns="0" anchor="b"/>
          <a:lstStyle>
            <a:lvl1pPr>
              <a:lnSpc>
                <a:spcPct val="100000"/>
              </a:lnSpc>
              <a:spcBef>
                <a:spcPts val="0"/>
              </a:spcBef>
              <a:defRPr sz="2400" spc="-30" baseline="0">
                <a:latin typeface="+mj-lt"/>
              </a:defRPr>
            </a:lvl1pPr>
          </a:lstStyle>
          <a:p>
            <a:pPr lvl="0"/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line</a:t>
            </a:r>
            <a:endParaRPr lang="fi-FI" dirty="0"/>
          </a:p>
          <a:p>
            <a:pPr lvl="0"/>
            <a:r>
              <a:rPr lang="fi-FI" dirty="0"/>
              <a:t>Second </a:t>
            </a:r>
            <a:r>
              <a:rPr lang="fi-FI" dirty="0" err="1"/>
              <a:t>line</a:t>
            </a:r>
            <a:endParaRPr lang="fi-FI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2097" y="2094926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400" b="0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 SUBTITLE LINE AND SECOND LINE OF SUBTITLE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92097" y="2731031"/>
            <a:ext cx="3637721" cy="513532"/>
          </a:xfrm>
          <a:prstGeom prst="rect">
            <a:avLst/>
          </a:prstGeom>
        </p:spPr>
        <p:txBody>
          <a:bodyPr/>
          <a:lstStyle>
            <a:lvl1pPr>
              <a:lnSpc>
                <a:spcPts val="1360"/>
              </a:lnSpc>
              <a:defRPr sz="1050" b="0" i="1" spc="-30" baseline="0">
                <a:latin typeface="+mn-lt"/>
              </a:defRPr>
            </a:lvl1pPr>
          </a:lstStyle>
          <a:p>
            <a:pPr lvl="0"/>
            <a:r>
              <a:rPr lang="fi-FI" dirty="0"/>
              <a:t>THIS IS ANOTHER SUBTITLE LINE E.G. FOR DATE</a:t>
            </a:r>
          </a:p>
        </p:txBody>
      </p:sp>
    </p:spTree>
    <p:extLst>
      <p:ext uri="{BB962C8B-B14F-4D97-AF65-F5344CB8AC3E}">
        <p14:creationId xmlns:p14="http://schemas.microsoft.com/office/powerpoint/2010/main" val="1797033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ADBD48-2A4D-4DFE-A840-1CE2BC41E5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822639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8" imgH="288" progId="TCLayout.ActiveDocument.1">
                  <p:embed/>
                </p:oleObj>
              </mc:Choice>
              <mc:Fallback>
                <p:oleObj name="think-cell Slide" r:id="rId4" imgW="288" imgH="28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ADBD48-2A4D-4DFE-A840-1CE2BC41E5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D21FD4C-0EA6-4506-B4AC-9F911CD1022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fi-FI" sz="1800" b="1" i="0" baseline="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2122991-DF40-428D-8278-DE0B22D4C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22EE1-19C0-47B3-AA8E-FB77BD29AC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  <a:p>
            <a:pPr lvl="4"/>
            <a:r>
              <a:rPr lang="fi-FI" dirty="0" err="1"/>
              <a:t>Fif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D32B6D-E343-4575-8379-34AAE525A7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38828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ONE - AL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234558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8419945-10F9-457B-A478-3D5BDAB1A9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21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8764" y="141685"/>
            <a:ext cx="8618537" cy="582104"/>
          </a:xfrm>
        </p:spPr>
        <p:txBody>
          <a:bodyPr wrap="square" lIns="0" tIns="0" rIns="130101" bIns="0" anchor="b" anchorCtr="0">
            <a:noAutofit/>
          </a:bodyPr>
          <a:lstStyle>
            <a:lvl1pPr marL="0" indent="0" algn="l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FontTx/>
              <a:buNone/>
              <a:defRPr sz="2100" b="1" i="0">
                <a:solidFill>
                  <a:srgbClr val="000000"/>
                </a:solidFill>
                <a:latin typeface="Arial" panose="020B0604020202020204" pitchFamily="34" charset="0"/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r>
              <a:rPr lang="fi-FI" dirty="0"/>
              <a:t> </a:t>
            </a:r>
            <a:r>
              <a:rPr lang="fi-FI" dirty="0" err="1"/>
              <a:t>style</a:t>
            </a:r>
            <a:endParaRPr lang="fi-FI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376E75-BD4C-4462-8334-FA8FCB18789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8367" y="803781"/>
            <a:ext cx="5555456" cy="215504"/>
          </a:xfrm>
        </p:spPr>
        <p:txBody>
          <a:bodyPr/>
          <a:lstStyle>
            <a:lvl1pPr marL="0" indent="0">
              <a:buNone/>
              <a:defRPr sz="1350">
                <a:solidFill>
                  <a:schemeClr val="accent1"/>
                </a:solidFill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3AE6E4E-0D08-4BE0-B16A-6A251B11522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1223" y="1099277"/>
            <a:ext cx="8632031" cy="3525111"/>
          </a:xfrm>
        </p:spPr>
        <p:txBody>
          <a:bodyPr/>
          <a:lstStyle>
            <a:lvl1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1pPr>
            <a:lvl2pPr marL="538163" indent="-214313">
              <a:buFont typeface="Arial" panose="020B0604020202020204" pitchFamily="34" charset="0"/>
              <a:buChar char="•"/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2pPr>
            <a:lvl3pPr marL="739379" indent="-269081">
              <a:buFont typeface="Arial" panose="020B0604020202020204" pitchFamily="34" charset="0"/>
              <a:buChar char="•"/>
              <a:tabLst>
                <a:tab pos="269081" algn="l"/>
              </a:tabLst>
              <a:defRPr sz="1050" b="0">
                <a:solidFill>
                  <a:schemeClr val="tx1"/>
                </a:solidFill>
              </a:defRPr>
            </a:lvl3pPr>
            <a:lvl4pPr marL="941785" indent="-269081">
              <a:tabLst>
                <a:tab pos="201216" algn="l"/>
              </a:tabLst>
              <a:defRPr sz="1050" b="0">
                <a:solidFill>
                  <a:schemeClr val="tx1"/>
                </a:solidFill>
              </a:defRPr>
            </a:lvl4pPr>
            <a:lvl5pPr marL="269081" indent="-269081">
              <a:tabLst>
                <a:tab pos="269081" algn="l"/>
              </a:tabLst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fi-FI" dirty="0" err="1"/>
              <a:t>Click</a:t>
            </a:r>
            <a:r>
              <a:rPr lang="fi-FI" dirty="0"/>
              <a:t> 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ext</a:t>
            </a:r>
            <a:r>
              <a:rPr lang="fi-FI" dirty="0"/>
              <a:t> </a:t>
            </a:r>
            <a:r>
              <a:rPr lang="fi-FI" dirty="0" err="1"/>
              <a:t>styles</a:t>
            </a:r>
            <a:endParaRPr lang="fi-FI" dirty="0"/>
          </a:p>
          <a:p>
            <a:pPr lvl="1"/>
            <a:r>
              <a:rPr lang="fi-FI" dirty="0"/>
              <a:t>Second </a:t>
            </a:r>
            <a:r>
              <a:rPr lang="fi-FI" dirty="0" err="1"/>
              <a:t>level</a:t>
            </a:r>
            <a:endParaRPr lang="fi-FI" dirty="0"/>
          </a:p>
          <a:p>
            <a:pPr lvl="2"/>
            <a:r>
              <a:rPr lang="fi-FI" dirty="0"/>
              <a:t>Third </a:t>
            </a:r>
            <a:r>
              <a:rPr lang="fi-FI" dirty="0" err="1"/>
              <a:t>level</a:t>
            </a:r>
            <a:endParaRPr lang="fi-FI" dirty="0"/>
          </a:p>
          <a:p>
            <a:pPr lvl="3"/>
            <a:r>
              <a:rPr lang="fi-FI" dirty="0" err="1"/>
              <a:t>Fourth</a:t>
            </a:r>
            <a:r>
              <a:rPr lang="fi-FI" dirty="0"/>
              <a:t> </a:t>
            </a:r>
            <a:r>
              <a:rPr lang="fi-FI" dirty="0" err="1"/>
              <a:t>level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8473584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>
            <a:extLst>
              <a:ext uri="{FF2B5EF4-FFF2-40B4-BE49-F238E27FC236}">
                <a16:creationId xmlns:a16="http://schemas.microsoft.com/office/drawing/2014/main" id="{61E4BDAF-34B7-4244-A21A-1B4987C55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431293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8" imgH="288" progId="TCLayout.ActiveDocument.1">
                  <p:embed/>
                </p:oleObj>
              </mc:Choice>
              <mc:Fallback>
                <p:oleObj name="think-cell Slide" r:id="rId4" imgW="288" imgH="288" progId="TCLayout.ActiveDocument.1">
                  <p:embed/>
                  <p:pic>
                    <p:nvPicPr>
                      <p:cNvPr id="18" name="Object 17" hidden="1">
                        <a:extLst>
                          <a:ext uri="{FF2B5EF4-FFF2-40B4-BE49-F238E27FC236}">
                            <a16:creationId xmlns:a16="http://schemas.microsoft.com/office/drawing/2014/main" id="{61E4BDAF-34B7-4244-A21A-1B4987C551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003D4688-7EA2-4634-A456-D69C3FBD87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fi-FI" sz="45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6" name="Freeform 11"/>
          <p:cNvSpPr>
            <a:spLocks noEditPoints="1"/>
          </p:cNvSpPr>
          <p:nvPr userDrawn="1"/>
        </p:nvSpPr>
        <p:spPr bwMode="auto">
          <a:xfrm>
            <a:off x="0" y="111126"/>
            <a:ext cx="4751388" cy="4927600"/>
          </a:xfrm>
          <a:custGeom>
            <a:avLst/>
            <a:gdLst>
              <a:gd name="T0" fmla="*/ 45 w 2993"/>
              <a:gd name="T1" fmla="*/ 67 h 3104"/>
              <a:gd name="T2" fmla="*/ 2948 w 2993"/>
              <a:gd name="T3" fmla="*/ 1243 h 3104"/>
              <a:gd name="T4" fmla="*/ 2948 w 2993"/>
              <a:gd name="T5" fmla="*/ 1861 h 3104"/>
              <a:gd name="T6" fmla="*/ 45 w 2993"/>
              <a:gd name="T7" fmla="*/ 3038 h 3104"/>
              <a:gd name="T8" fmla="*/ 45 w 2993"/>
              <a:gd name="T9" fmla="*/ 2458 h 3104"/>
              <a:gd name="T10" fmla="*/ 2174 w 2993"/>
              <a:gd name="T11" fmla="*/ 1594 h 3104"/>
              <a:gd name="T12" fmla="*/ 2278 w 2993"/>
              <a:gd name="T13" fmla="*/ 1554 h 3104"/>
              <a:gd name="T14" fmla="*/ 2174 w 2993"/>
              <a:gd name="T15" fmla="*/ 1511 h 3104"/>
              <a:gd name="T16" fmla="*/ 45 w 2993"/>
              <a:gd name="T17" fmla="*/ 647 h 3104"/>
              <a:gd name="T18" fmla="*/ 45 w 2993"/>
              <a:gd name="T19" fmla="*/ 67 h 3104"/>
              <a:gd name="T20" fmla="*/ 0 w 2993"/>
              <a:gd name="T21" fmla="*/ 0 h 3104"/>
              <a:gd name="T22" fmla="*/ 0 w 2993"/>
              <a:gd name="T23" fmla="*/ 678 h 3104"/>
              <a:gd name="T24" fmla="*/ 2157 w 2993"/>
              <a:gd name="T25" fmla="*/ 1554 h 3104"/>
              <a:gd name="T26" fmla="*/ 0 w 2993"/>
              <a:gd name="T27" fmla="*/ 2427 h 3104"/>
              <a:gd name="T28" fmla="*/ 0 w 2993"/>
              <a:gd name="T29" fmla="*/ 3104 h 3104"/>
              <a:gd name="T30" fmla="*/ 2993 w 2993"/>
              <a:gd name="T31" fmla="*/ 1892 h 3104"/>
              <a:gd name="T32" fmla="*/ 2993 w 2993"/>
              <a:gd name="T33" fmla="*/ 1213 h 3104"/>
              <a:gd name="T34" fmla="*/ 0 w 2993"/>
              <a:gd name="T35" fmla="*/ 0 h 3104"/>
              <a:gd name="T36" fmla="*/ 0 w 2993"/>
              <a:gd name="T37" fmla="*/ 0 h 3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993" h="3104">
                <a:moveTo>
                  <a:pt x="45" y="67"/>
                </a:moveTo>
                <a:lnTo>
                  <a:pt x="2948" y="1243"/>
                </a:lnTo>
                <a:lnTo>
                  <a:pt x="2948" y="1861"/>
                </a:lnTo>
                <a:lnTo>
                  <a:pt x="45" y="3038"/>
                </a:lnTo>
                <a:lnTo>
                  <a:pt x="45" y="2458"/>
                </a:lnTo>
                <a:lnTo>
                  <a:pt x="2174" y="1594"/>
                </a:lnTo>
                <a:lnTo>
                  <a:pt x="2278" y="1554"/>
                </a:lnTo>
                <a:lnTo>
                  <a:pt x="2174" y="1511"/>
                </a:lnTo>
                <a:lnTo>
                  <a:pt x="45" y="647"/>
                </a:lnTo>
                <a:lnTo>
                  <a:pt x="45" y="67"/>
                </a:lnTo>
                <a:moveTo>
                  <a:pt x="0" y="0"/>
                </a:moveTo>
                <a:lnTo>
                  <a:pt x="0" y="678"/>
                </a:lnTo>
                <a:lnTo>
                  <a:pt x="2157" y="1554"/>
                </a:lnTo>
                <a:lnTo>
                  <a:pt x="0" y="2427"/>
                </a:lnTo>
                <a:lnTo>
                  <a:pt x="0" y="3104"/>
                </a:lnTo>
                <a:lnTo>
                  <a:pt x="2993" y="1892"/>
                </a:lnTo>
                <a:lnTo>
                  <a:pt x="2993" y="1213"/>
                </a:lnTo>
                <a:lnTo>
                  <a:pt x="0" y="0"/>
                </a:lnTo>
                <a:lnTo>
                  <a:pt x="0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i-FI" sz="1800" dirty="0"/>
          </a:p>
        </p:txBody>
      </p:sp>
      <p:pic>
        <p:nvPicPr>
          <p:cNvPr id="2" name="GTS_Technology_DIMENSIONAL" hidden="1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9" name="GTS_Technology_KEYLINE_darkBG" hidden="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4" name="GTS_Technology_KEYLINE_lightBG" hidden="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7" name="GTS_Technology_GRADIENT_darkBG" hidden="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" name="GTS_Technology_GRADIENT_lightBG" hidden="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98" name="Acc_TechnologyBLACK" hidden="1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245745"/>
            <a:ext cx="2571743" cy="448221"/>
          </a:xfrm>
          <a:prstGeom prst="rect">
            <a:avLst/>
          </a:prstGeom>
        </p:spPr>
      </p:pic>
      <p:pic>
        <p:nvPicPr>
          <p:cNvPr id="99" name="Acc_TechnologyWHITE" hidden="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237173"/>
            <a:ext cx="2571967" cy="462048"/>
          </a:xfrm>
          <a:prstGeom prst="rect">
            <a:avLst/>
          </a:prstGeom>
        </p:spPr>
      </p:pic>
      <p:pic>
        <p:nvPicPr>
          <p:cNvPr id="13" name="GTS_Strategy_GRADIENT_darkBG" hidden="1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" name="GTS_Strategy_GRADIENT_lightBG" hidden="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2" name="GTS_Strategy_DIMENSIONAL_darkBG" hidden="1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5" name="GTS_Strategy_DIMENSIONAL_lightBG" hidden="1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1" name="Acc_StrategyWHITE" hidden="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264363"/>
            <a:ext cx="2219990" cy="400856"/>
          </a:xfrm>
          <a:prstGeom prst="rect">
            <a:avLst/>
          </a:prstGeom>
        </p:spPr>
      </p:pic>
      <p:pic>
        <p:nvPicPr>
          <p:cNvPr id="20" name="GTS_Operations_KEYLINE_darkBG" hidden="1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7" name="GTS_Operations_KEYLINE_lightBG" hidden="1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9" name="GTS_Operations_GRADIENT_darkBG" hidden="1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6" name="GTS_Operations_GRADIENT_lightBG" hidden="1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5" name="GTS_Operations_DIMENSIONAL" hidden="1"/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02" name="Acc_OperationsWHITE" hidden="1"/>
          <p:cNvPicPr>
            <a:picLocks noChangeAspect="1"/>
          </p:cNvPicPr>
          <p:nvPr userDrawn="1"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1203" y="248023"/>
            <a:ext cx="2467235" cy="445500"/>
          </a:xfrm>
          <a:prstGeom prst="rect">
            <a:avLst/>
          </a:prstGeom>
        </p:spPr>
      </p:pic>
      <p:pic>
        <p:nvPicPr>
          <p:cNvPr id="105" name="Acc_OperationsBLACK" hidden="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2154" y="242888"/>
            <a:ext cx="2459804" cy="444158"/>
          </a:xfrm>
          <a:prstGeom prst="rect">
            <a:avLst/>
          </a:prstGeom>
        </p:spPr>
      </p:pic>
      <p:pic>
        <p:nvPicPr>
          <p:cNvPr id="106" name="Acc_MobilityBLACK" hidden="1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9"/>
            <a:ext cx="2571656" cy="395759"/>
          </a:xfrm>
          <a:prstGeom prst="rect">
            <a:avLst/>
          </a:prstGeom>
        </p:spPr>
      </p:pic>
      <p:pic>
        <p:nvPicPr>
          <p:cNvPr id="107" name="Acc_MobilityWHITE" hidden="1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4" y="401828"/>
            <a:ext cx="2574401" cy="396900"/>
          </a:xfrm>
          <a:prstGeom prst="rect">
            <a:avLst/>
          </a:prstGeom>
        </p:spPr>
      </p:pic>
      <p:pic>
        <p:nvPicPr>
          <p:cNvPr id="108" name="Acc_InteractiveBLACK" hidden="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7"/>
            <a:ext cx="2581436" cy="389240"/>
          </a:xfrm>
          <a:prstGeom prst="rect">
            <a:avLst/>
          </a:prstGeom>
        </p:spPr>
      </p:pic>
      <p:pic>
        <p:nvPicPr>
          <p:cNvPr id="109" name="Acc_InteractiveWHITE" hidden="1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7415" y="404498"/>
            <a:ext cx="2578836" cy="388800"/>
          </a:xfrm>
          <a:prstGeom prst="rect">
            <a:avLst/>
          </a:prstGeom>
        </p:spPr>
      </p:pic>
      <p:pic>
        <p:nvPicPr>
          <p:cNvPr id="110" name="Acc_AnalyticsBLACK" hidden="1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49" y="402275"/>
            <a:ext cx="2570702" cy="396453"/>
          </a:xfrm>
          <a:prstGeom prst="rect">
            <a:avLst/>
          </a:prstGeom>
        </p:spPr>
      </p:pic>
      <p:pic>
        <p:nvPicPr>
          <p:cNvPr id="111" name="Acc_AnalyticsWHITE" hidden="1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6150" y="402275"/>
            <a:ext cx="2581436" cy="396900"/>
          </a:xfrm>
          <a:prstGeom prst="rect">
            <a:avLst/>
          </a:prstGeom>
        </p:spPr>
      </p:pic>
      <p:pic>
        <p:nvPicPr>
          <p:cNvPr id="24" name="GTS_Digital_KEYLINE_darkBG" hidden="1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3" name="GTS_Digital_KEYLINE_lightBG" hidden="1"/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5" name="GTS_Digital_GRADIENT_darkBG" hidden="1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2" name="GTS_Digital_GRADIENT_lightBG" hidden="1"/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6" name="GTS_Digital_DIMENSIONAL_darkBG" hidden="1"/>
          <p:cNvPicPr>
            <a:picLocks noChangeAspect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1" name="GTS_Digital_DIMENSIONAL_lightBG" hidden="1"/>
          <p:cNvPicPr>
            <a:picLocks noChangeAspect="1"/>
          </p:cNvPicPr>
          <p:nvPr userDrawn="1"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2" name="Acc_DigitalWHITE" hidden="1"/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1954"/>
            <a:ext cx="1935692" cy="374979"/>
          </a:xfrm>
          <a:prstGeom prst="rect">
            <a:avLst/>
          </a:prstGeom>
        </p:spPr>
      </p:pic>
      <p:pic>
        <p:nvPicPr>
          <p:cNvPr id="113" name="Acc_DigitalBLACK" hidden="1"/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82247"/>
            <a:ext cx="1933787" cy="374732"/>
          </a:xfrm>
          <a:prstGeom prst="rect">
            <a:avLst/>
          </a:prstGeom>
        </p:spPr>
      </p:pic>
      <p:pic>
        <p:nvPicPr>
          <p:cNvPr id="35" name="GTS_Consulting_KEYLINE_darkBG" hidden="1"/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30" name="GTS_Consulting_KEYLINE_lightBG" hidden="1"/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34" name="GTS_Consulting_GRADIENT_darkBG" hidden="1"/>
          <p:cNvPicPr>
            <a:picLocks noChangeAspect="1"/>
          </p:cNvPicPr>
          <p:nvPr userDrawn="1"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9" name="GTS_Consulting_GRADIENT_lightBG" hidden="1"/>
          <p:cNvPicPr>
            <a:picLocks noChangeAspect="1"/>
          </p:cNvPicPr>
          <p:nvPr userDrawn="1"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28" name="GTS_Consulting_DIMENSIONAL" hidden="1"/>
          <p:cNvPicPr>
            <a:picLocks noChangeAspect="1"/>
          </p:cNvPicPr>
          <p:nvPr userDrawn="1"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7" cy="4557600"/>
          </a:xfrm>
          <a:prstGeom prst="rect">
            <a:avLst/>
          </a:prstGeom>
        </p:spPr>
      </p:pic>
      <p:pic>
        <p:nvPicPr>
          <p:cNvPr id="114" name="Acc_ConsultingWHITE" hidden="1"/>
          <p:cNvPicPr>
            <a:picLocks noChangeAspect="1"/>
          </p:cNvPicPr>
          <p:nvPr userDrawn="1"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52563"/>
            <a:ext cx="2419160" cy="434123"/>
          </a:xfrm>
          <a:prstGeom prst="rect">
            <a:avLst/>
          </a:prstGeom>
        </p:spPr>
      </p:pic>
      <p:pic>
        <p:nvPicPr>
          <p:cNvPr id="115" name="Acc_ConsultingBLACK" hidden="1"/>
          <p:cNvPicPr>
            <a:picLocks noChangeAspect="1"/>
          </p:cNvPicPr>
          <p:nvPr userDrawn="1"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5012" y="276584"/>
            <a:ext cx="2419160" cy="380366"/>
          </a:xfrm>
          <a:prstGeom prst="rect">
            <a:avLst/>
          </a:prstGeom>
        </p:spPr>
      </p:pic>
      <p:pic>
        <p:nvPicPr>
          <p:cNvPr id="52" name="GTS_Master_GRADIENT_09" hidden="1"/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3" name="GTS_Master_GRADIENT_08" hidden="1"/>
          <p:cNvPicPr>
            <a:picLocks noChangeAspect="1"/>
          </p:cNvPicPr>
          <p:nvPr userDrawn="1"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4" name="GTS_Master_GRADIENT_07" hidden="1"/>
          <p:cNvPicPr>
            <a:picLocks noChangeAspect="1"/>
          </p:cNvPicPr>
          <p:nvPr userDrawn="1"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5" name="GTS_Master_GRADIENT_06" hidden="1"/>
          <p:cNvPicPr>
            <a:picLocks noChangeAspect="1"/>
          </p:cNvPicPr>
          <p:nvPr userDrawn="1"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6" name="GTS_Master_DIMENSIONAL_08" hidden="1"/>
          <p:cNvPicPr>
            <a:picLocks noChangeAspect="1"/>
          </p:cNvPicPr>
          <p:nvPr userDrawn="1"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7" name="GTS_Master_DIMENSIONAL_07" hidden="1"/>
          <p:cNvPicPr>
            <a:picLocks noChangeAspect="1"/>
          </p:cNvPicPr>
          <p:nvPr userDrawn="1"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8" name="GTS_Master_DIMENSIONAL_04" hidden="1"/>
          <p:cNvPicPr>
            <a:picLocks noChangeAspect="1"/>
          </p:cNvPicPr>
          <p:nvPr userDrawn="1"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59" name="GTS_Master_TWO-TONE_05" hidden="1"/>
          <p:cNvPicPr>
            <a:picLocks noChangeAspect="1"/>
          </p:cNvPicPr>
          <p:nvPr userDrawn="1"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0" name="GTS_Master_TWO-TONE_04" hidden="1"/>
          <p:cNvPicPr>
            <a:picLocks noChangeAspect="1"/>
          </p:cNvPicPr>
          <p:nvPr userDrawn="1"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1" name="GTS_Master_TWO-TONE_03" hidden="1"/>
          <p:cNvPicPr>
            <a:picLocks noChangeAspect="1"/>
          </p:cNvPicPr>
          <p:nvPr userDrawn="1"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2" name="GTS_Master_TWO-TONE_02" hidden="1"/>
          <p:cNvPicPr>
            <a:picLocks noChangeAspect="1"/>
          </p:cNvPicPr>
          <p:nvPr userDrawn="1"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pic>
        <p:nvPicPr>
          <p:cNvPr id="63" name="GTS_Master_TWO-TONE_01" hidden="1"/>
          <p:cNvPicPr>
            <a:picLocks noChangeAspect="1"/>
          </p:cNvPicPr>
          <p:nvPr userDrawn="1"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8426" y="359744"/>
            <a:ext cx="4392868" cy="4557600"/>
          </a:xfrm>
          <a:prstGeom prst="rect">
            <a:avLst/>
          </a:prstGeom>
        </p:spPr>
      </p:pic>
      <p:grpSp>
        <p:nvGrpSpPr>
          <p:cNvPr id="46" name="Acc_MasterWHITE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638475" y="1219200"/>
            <a:chExt cx="1389888" cy="373063"/>
          </a:xfrm>
        </p:grpSpPr>
        <p:pic>
          <p:nvPicPr>
            <p:cNvPr id="47" name="Picture 46"/>
            <p:cNvPicPr>
              <a:picLocks noChangeAspect="1"/>
            </p:cNvPicPr>
            <p:nvPr/>
          </p:nvPicPr>
          <p:blipFill>
            <a:blip r:embed="rId5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475" y="1372165"/>
              <a:ext cx="1389888" cy="220098"/>
            </a:xfrm>
            <a:prstGeom prst="rect">
              <a:avLst/>
            </a:prstGeom>
          </p:spPr>
        </p:pic>
        <p:sp>
          <p:nvSpPr>
            <p:cNvPr id="48" name="Freeform 5"/>
            <p:cNvSpPr>
              <a:spLocks/>
            </p:cNvSpPr>
            <p:nvPr/>
          </p:nvSpPr>
          <p:spPr bwMode="auto">
            <a:xfrm>
              <a:off x="10448925" y="1219200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grpSp>
        <p:nvGrpSpPr>
          <p:cNvPr id="49" name="Acc_MasterBLACK" hidden="1"/>
          <p:cNvGrpSpPr>
            <a:grpSpLocks noChangeAspect="1"/>
          </p:cNvGrpSpPr>
          <p:nvPr userDrawn="1"/>
        </p:nvGrpSpPr>
        <p:grpSpPr>
          <a:xfrm>
            <a:off x="5813243" y="283293"/>
            <a:ext cx="1248156" cy="335021"/>
            <a:chOff x="9563100" y="1673029"/>
            <a:chExt cx="1389888" cy="373063"/>
          </a:xfrm>
        </p:grpSpPr>
        <p:pic>
          <p:nvPicPr>
            <p:cNvPr id="50" name="Picture 49"/>
            <p:cNvPicPr>
              <a:picLocks noChangeAspect="1"/>
            </p:cNvPicPr>
            <p:nvPr/>
          </p:nvPicPr>
          <p:blipFill>
            <a:blip r:embed="rId5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63100" y="1825994"/>
              <a:ext cx="1389888" cy="220098"/>
            </a:xfrm>
            <a:prstGeom prst="rect">
              <a:avLst/>
            </a:prstGeom>
          </p:spPr>
        </p:pic>
        <p:sp>
          <p:nvSpPr>
            <p:cNvPr id="51" name="Freeform 5"/>
            <p:cNvSpPr>
              <a:spLocks/>
            </p:cNvSpPr>
            <p:nvPr/>
          </p:nvSpPr>
          <p:spPr bwMode="auto">
            <a:xfrm>
              <a:off x="10373550" y="1673029"/>
              <a:ext cx="136525" cy="147638"/>
            </a:xfrm>
            <a:custGeom>
              <a:avLst/>
              <a:gdLst>
                <a:gd name="T0" fmla="*/ 0 w 86"/>
                <a:gd name="T1" fmla="*/ 66 h 93"/>
                <a:gd name="T2" fmla="*/ 50 w 86"/>
                <a:gd name="T3" fmla="*/ 47 h 93"/>
                <a:gd name="T4" fmla="*/ 0 w 86"/>
                <a:gd name="T5" fmla="*/ 27 h 93"/>
                <a:gd name="T6" fmla="*/ 0 w 86"/>
                <a:gd name="T7" fmla="*/ 0 h 93"/>
                <a:gd name="T8" fmla="*/ 86 w 86"/>
                <a:gd name="T9" fmla="*/ 35 h 93"/>
                <a:gd name="T10" fmla="*/ 86 w 86"/>
                <a:gd name="T11" fmla="*/ 57 h 93"/>
                <a:gd name="T12" fmla="*/ 0 w 86"/>
                <a:gd name="T13" fmla="*/ 93 h 93"/>
                <a:gd name="T14" fmla="*/ 0 w 86"/>
                <a:gd name="T15" fmla="*/ 66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6" h="93">
                  <a:moveTo>
                    <a:pt x="0" y="66"/>
                  </a:moveTo>
                  <a:lnTo>
                    <a:pt x="50" y="47"/>
                  </a:lnTo>
                  <a:lnTo>
                    <a:pt x="0" y="27"/>
                  </a:lnTo>
                  <a:lnTo>
                    <a:pt x="0" y="0"/>
                  </a:lnTo>
                  <a:lnTo>
                    <a:pt x="86" y="35"/>
                  </a:lnTo>
                  <a:lnTo>
                    <a:pt x="86" y="57"/>
                  </a:lnTo>
                  <a:lnTo>
                    <a:pt x="0" y="93"/>
                  </a:lnTo>
                  <a:lnTo>
                    <a:pt x="0" y="66"/>
                  </a:lnTo>
                  <a:close/>
                </a:path>
              </a:pathLst>
            </a:custGeom>
            <a:solidFill>
              <a:srgbClr val="70E6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i-FI" sz="1005" dirty="0"/>
            </a:p>
          </p:txBody>
        </p:sp>
      </p:grpSp>
      <p:sp>
        <p:nvSpPr>
          <p:cNvPr id="6" name="SubTitle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5290828" y="3805392"/>
            <a:ext cx="2892247" cy="780896"/>
          </a:xfrm>
        </p:spPr>
        <p:txBody>
          <a:bodyPr anchor="b"/>
          <a:lstStyle>
            <a:lvl1pPr marL="0" indent="0">
              <a:lnSpc>
                <a:spcPct val="80000"/>
              </a:lnSpc>
              <a:buNone/>
              <a:defRPr sz="1500" b="0" i="0" cap="all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fi-FI" dirty="0"/>
              <a:t>SUBTITLE LINE</a:t>
            </a:r>
            <a:br>
              <a:rPr lang="fi-FI" dirty="0"/>
            </a:br>
            <a:r>
              <a:rPr lang="fi-FI" dirty="0"/>
              <a:t>SECOND LINE</a:t>
            </a:r>
          </a:p>
        </p:txBody>
      </p:sp>
      <p:sp>
        <p:nvSpPr>
          <p:cNvPr id="8" name="MasterTitle"/>
          <p:cNvSpPr>
            <a:spLocks noGrp="1"/>
          </p:cNvSpPr>
          <p:nvPr userDrawn="1">
            <p:ph type="title" hasCustomPrompt="1"/>
          </p:nvPr>
        </p:nvSpPr>
        <p:spPr>
          <a:xfrm>
            <a:off x="5287018" y="1388745"/>
            <a:ext cx="3524842" cy="2377427"/>
          </a:xfrm>
        </p:spPr>
        <p:txBody>
          <a:bodyPr tIns="252000" anchor="ctr"/>
          <a:lstStyle>
            <a:lvl1pPr>
              <a:lnSpc>
                <a:spcPct val="70000"/>
              </a:lnSpc>
              <a:defRPr sz="4500" spc="-113" baseline="0">
                <a:solidFill>
                  <a:schemeClr val="tx1"/>
                </a:solidFill>
              </a:defRPr>
            </a:lvl1pPr>
          </a:lstStyle>
          <a:p>
            <a:r>
              <a:rPr lang="fi-FI" dirty="0" err="1"/>
              <a:t>Click</a:t>
            </a:r>
            <a:r>
              <a:rPr lang="fi-FI" dirty="0"/>
              <a:t> </a:t>
            </a:r>
            <a:br>
              <a:rPr lang="fi-FI" dirty="0"/>
            </a:br>
            <a:r>
              <a:rPr lang="fi-FI" dirty="0"/>
              <a:t>to </a:t>
            </a:r>
            <a:r>
              <a:rPr lang="fi-FI" dirty="0" err="1"/>
              <a:t>edit</a:t>
            </a:r>
            <a:r>
              <a:rPr lang="fi-FI" dirty="0"/>
              <a:t> Master </a:t>
            </a:r>
            <a:r>
              <a:rPr lang="fi-FI" dirty="0" err="1"/>
              <a:t>title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17755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7320">
          <p15:clr>
            <a:srgbClr val="5ACBF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godia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Kuva 2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72270" y="1966957"/>
            <a:ext cx="4730093" cy="1172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068013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turkoosi">
    <p:bg>
      <p:bgPr>
        <a:solidFill>
          <a:srgbClr val="0ACF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E114E9B-AF34-462B-9107-FB4A4FE20955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3052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0552848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7D0C29F-D373-4791-88C9-86C29F06AD83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74770107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petroli">
    <p:bg>
      <p:bgPr>
        <a:solidFill>
          <a:srgbClr val="0F78B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C870B0A-5FAA-48CC-9422-68AAC5A5CADB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11" name="Tekstin paikkamerkki 2"/>
          <p:cNvSpPr>
            <a:spLocks noGrp="1"/>
          </p:cNvSpPr>
          <p:nvPr>
            <p:ph idx="21"/>
          </p:nvPr>
        </p:nvSpPr>
        <p:spPr>
          <a:xfrm>
            <a:off x="1072800" y="1584884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12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647428192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3A50D0A-99B9-48FE-8B08-047EE10ADBDA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062311651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tekstille ja kuvalle - sininen">
    <p:bg>
      <p:bgPr>
        <a:solidFill>
          <a:srgbClr val="141F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Kuvan paikkamerkki 6"/>
          <p:cNvSpPr>
            <a:spLocks noGrp="1"/>
          </p:cNvSpPr>
          <p:nvPr>
            <p:ph type="pic" sz="quarter" idx="18"/>
          </p:nvPr>
        </p:nvSpPr>
        <p:spPr>
          <a:xfrm>
            <a:off x="5090400" y="0"/>
            <a:ext cx="4053605" cy="51435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 sz="1500">
                <a:solidFill>
                  <a:schemeClr val="bg1"/>
                </a:solidFill>
              </a:defRPr>
            </a:lvl1pPr>
          </a:lstStyle>
          <a:p>
            <a:r>
              <a:rPr lang="fi-FI"/>
              <a:t>Lisää kuva napsauttamalla kuvaketta</a:t>
            </a:r>
            <a:endParaRPr lang="fi-FI" dirty="0"/>
          </a:p>
        </p:txBody>
      </p:sp>
      <p:sp>
        <p:nvSpPr>
          <p:cNvPr id="9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EF2A4B-BD6C-442B-B37A-933F3A2F5101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0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2"/>
          <p:cNvSpPr>
            <a:spLocks noGrp="1"/>
          </p:cNvSpPr>
          <p:nvPr>
            <p:ph idx="21"/>
          </p:nvPr>
        </p:nvSpPr>
        <p:spPr>
          <a:xfrm>
            <a:off x="1072800" y="1585226"/>
            <a:ext cx="3844800" cy="28499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34000" marR="0" indent="-212400" algn="l" defTabSz="806052" rtl="0" eaLnBrk="1" fontAlgn="auto" latinLnBrk="0" hangingPunct="1">
              <a:lnSpc>
                <a:spcPts val="2000"/>
              </a:lnSpc>
              <a:spcBef>
                <a:spcPts val="400"/>
              </a:spcBef>
              <a:spcAft>
                <a:spcPts val="300"/>
              </a:spcAft>
              <a:buClrTx/>
              <a:buSzPct val="125000"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  <a:lvl2pPr indent="-158400">
              <a:buSzPct val="125000"/>
              <a:defRPr sz="1300" baseline="0">
                <a:solidFill>
                  <a:schemeClr val="bg1"/>
                </a:solidFill>
              </a:defRPr>
            </a:lvl2pPr>
            <a:lvl3pPr indent="-158400">
              <a:buSzPct val="125000"/>
              <a:defRPr sz="1100">
                <a:solidFill>
                  <a:schemeClr val="bg1"/>
                </a:solidFill>
              </a:defRPr>
            </a:lvl3pPr>
            <a:lvl4pPr indent="-158400">
              <a:buSzPct val="125000"/>
              <a:defRPr sz="1000">
                <a:solidFill>
                  <a:schemeClr val="bg1"/>
                </a:solidFill>
              </a:defRPr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</p:txBody>
      </p:sp>
      <p:sp>
        <p:nvSpPr>
          <p:cNvPr id="8" name="Tekstin paikkamerkki 28"/>
          <p:cNvSpPr>
            <a:spLocks noGrp="1"/>
          </p:cNvSpPr>
          <p:nvPr>
            <p:ph type="body" sz="quarter" idx="22" hasCustomPrompt="1"/>
          </p:nvPr>
        </p:nvSpPr>
        <p:spPr>
          <a:xfrm>
            <a:off x="1072800" y="1102950"/>
            <a:ext cx="3844800" cy="367183"/>
          </a:xfrm>
          <a:prstGeom prst="rect">
            <a:avLst/>
          </a:prstGeom>
        </p:spPr>
        <p:txBody>
          <a:bodyPr/>
          <a:lstStyle>
            <a:lvl1pPr marL="14400" indent="0">
              <a:lnSpc>
                <a:spcPts val="2700"/>
              </a:lnSpc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781393815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äliotsikkodia - violetti">
    <p:bg>
      <p:bgPr>
        <a:solidFill>
          <a:srgbClr val="8A0FA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Kuva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335004" y="370433"/>
            <a:ext cx="437200" cy="437174"/>
          </a:xfrm>
          <a:prstGeom prst="rect">
            <a:avLst/>
          </a:prstGeom>
        </p:spPr>
      </p:pic>
      <p:sp>
        <p:nvSpPr>
          <p:cNvPr id="10" name="Tekstin paikkamerkki 28"/>
          <p:cNvSpPr>
            <a:spLocks noGrp="1"/>
          </p:cNvSpPr>
          <p:nvPr>
            <p:ph type="body" sz="quarter" idx="15" hasCustomPrompt="1"/>
          </p:nvPr>
        </p:nvSpPr>
        <p:spPr>
          <a:xfrm>
            <a:off x="1072800" y="1924882"/>
            <a:ext cx="6977283" cy="1165268"/>
          </a:xfrm>
          <a:prstGeom prst="rect">
            <a:avLst/>
          </a:prstGeom>
        </p:spPr>
        <p:txBody>
          <a:bodyPr/>
          <a:lstStyle>
            <a:lvl1pPr marL="10800" indent="0">
              <a:lnSpc>
                <a:spcPts val="27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200" b="1" baseline="0">
                <a:solidFill>
                  <a:schemeClr val="bg1"/>
                </a:solidFill>
              </a:defRPr>
            </a:lvl1pPr>
            <a:lvl2pPr marL="314865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2pPr>
            <a:lvl3pPr marL="629724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3pPr>
            <a:lvl4pPr marL="944589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4pPr>
            <a:lvl5pPr marL="1267851" indent="0">
              <a:spcAft>
                <a:spcPts val="0"/>
              </a:spcAft>
              <a:buFontTx/>
              <a:buNone/>
              <a:defRPr sz="2200" b="1">
                <a:solidFill>
                  <a:srgbClr val="666666"/>
                </a:solidFill>
              </a:defRPr>
            </a:lvl5pPr>
          </a:lstStyle>
          <a:p>
            <a:pPr lvl="0"/>
            <a:r>
              <a:rPr lang="fi-FI" dirty="0"/>
              <a:t>Muokkaa väliotsikkoa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2" name="Dian numeron paikkamerkki 3"/>
          <p:cNvSpPr>
            <a:spLocks noGrp="1"/>
          </p:cNvSpPr>
          <p:nvPr>
            <p:ph type="sldNum" sz="quarter" idx="12"/>
          </p:nvPr>
        </p:nvSpPr>
        <p:spPr>
          <a:xfrm>
            <a:off x="8005977" y="4729407"/>
            <a:ext cx="863990" cy="165406"/>
          </a:xfrm>
          <a:prstGeom prst="rect">
            <a:avLst/>
          </a:prstGeom>
        </p:spPr>
        <p:txBody>
          <a:bodyPr/>
          <a:lstStyle>
            <a:lvl1pPr>
              <a:defRPr sz="700">
                <a:solidFill>
                  <a:schemeClr val="bg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  <p:sp>
        <p:nvSpPr>
          <p:cNvPr id="14" name="Päivämäärän paikkamerkki 1"/>
          <p:cNvSpPr>
            <a:spLocks noGrp="1"/>
          </p:cNvSpPr>
          <p:nvPr>
            <p:ph type="dt" sz="half" idx="10"/>
          </p:nvPr>
        </p:nvSpPr>
        <p:spPr>
          <a:xfrm>
            <a:off x="282027" y="4728047"/>
            <a:ext cx="916709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CBEF-2865-4434-A020-1FAA7DCEF42D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15" name="Alatunnisteen paikkamerkki 2"/>
          <p:cNvSpPr>
            <a:spLocks noGrp="1"/>
          </p:cNvSpPr>
          <p:nvPr>
            <p:ph type="ftr" sz="quarter" idx="11"/>
          </p:nvPr>
        </p:nvSpPr>
        <p:spPr>
          <a:xfrm>
            <a:off x="1111510" y="4728047"/>
            <a:ext cx="1295891" cy="16469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30501944"/>
      </p:ext>
    </p:extLst>
  </p:cSld>
  <p:clrMapOvr>
    <a:masterClrMapping/>
  </p:clrMapOvr>
  <p:transition spd="med">
    <p:fade/>
  </p:transition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4.emf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34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33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äivämäärän paikkamerkki 3"/>
          <p:cNvSpPr>
            <a:spLocks noGrp="1"/>
          </p:cNvSpPr>
          <p:nvPr>
            <p:ph type="dt" sz="half" idx="2"/>
          </p:nvPr>
        </p:nvSpPr>
        <p:spPr>
          <a:xfrm>
            <a:off x="282027" y="4728047"/>
            <a:ext cx="919711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fld id="{1B16F53B-7158-4458-A0D4-1436C88C6842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111307" y="4728047"/>
            <a:ext cx="1296094" cy="163042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7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fi-FI" dirty="0"/>
              <a:t>Teknologiateollisuus</a:t>
            </a:r>
          </a:p>
        </p:txBody>
      </p:sp>
      <p:sp>
        <p:nvSpPr>
          <p:cNvPr id="26" name="Tekstin paikkamerkki 3"/>
          <p:cNvSpPr>
            <a:spLocks noGrp="1"/>
          </p:cNvSpPr>
          <p:nvPr>
            <p:ph type="body" idx="1"/>
          </p:nvPr>
        </p:nvSpPr>
        <p:spPr>
          <a:xfrm>
            <a:off x="1072801" y="1583532"/>
            <a:ext cx="7171199" cy="28932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27" name="Otsikon paikkamerkki 2"/>
          <p:cNvSpPr>
            <a:spLocks noGrp="1"/>
          </p:cNvSpPr>
          <p:nvPr>
            <p:ph type="title"/>
          </p:nvPr>
        </p:nvSpPr>
        <p:spPr>
          <a:xfrm>
            <a:off x="1072801" y="1102950"/>
            <a:ext cx="7171199" cy="36718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13" name="Dian numeron paikkamerkki 1"/>
          <p:cNvSpPr>
            <a:spLocks noGrp="1"/>
          </p:cNvSpPr>
          <p:nvPr>
            <p:ph type="sldNum" sz="quarter" idx="4"/>
          </p:nvPr>
        </p:nvSpPr>
        <p:spPr>
          <a:xfrm>
            <a:off x="8005977" y="4729163"/>
            <a:ext cx="863990" cy="166687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6FCB6B90-8271-4E8F-82C1-E646FBB48A2E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729942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01" r:id="rId2"/>
    <p:sldLayoutId id="2147483664" r:id="rId3"/>
    <p:sldLayoutId id="2147483679" r:id="rId4"/>
    <p:sldLayoutId id="2147483665" r:id="rId5"/>
    <p:sldLayoutId id="2147483681" r:id="rId6"/>
    <p:sldLayoutId id="2147483666" r:id="rId7"/>
    <p:sldLayoutId id="2147483682" r:id="rId8"/>
    <p:sldLayoutId id="2147483667" r:id="rId9"/>
    <p:sldLayoutId id="2147483683" r:id="rId10"/>
    <p:sldLayoutId id="2147483668" r:id="rId11"/>
    <p:sldLayoutId id="2147483684" r:id="rId12"/>
    <p:sldLayoutId id="2147483669" r:id="rId13"/>
    <p:sldLayoutId id="2147483685" r:id="rId14"/>
    <p:sldLayoutId id="2147483670" r:id="rId15"/>
    <p:sldLayoutId id="2147483686" r:id="rId16"/>
    <p:sldLayoutId id="2147483671" r:id="rId17"/>
    <p:sldLayoutId id="2147483687" r:id="rId18"/>
    <p:sldLayoutId id="2147483702" r:id="rId19"/>
    <p:sldLayoutId id="2147483704" r:id="rId20"/>
    <p:sldLayoutId id="2147483680" r:id="rId21"/>
    <p:sldLayoutId id="2147483674" r:id="rId22"/>
    <p:sldLayoutId id="2147483691" r:id="rId23"/>
    <p:sldLayoutId id="2147483700" r:id="rId24"/>
    <p:sldLayoutId id="2147483696" r:id="rId25"/>
    <p:sldLayoutId id="2147483673" r:id="rId26"/>
    <p:sldLayoutId id="2147483703" r:id="rId27"/>
    <p:sldLayoutId id="2147483707" r:id="rId28"/>
    <p:sldLayoutId id="2147483708" r:id="rId29"/>
  </p:sldLayoutIdLst>
  <p:transition spd="med">
    <p:fade/>
  </p:transition>
  <p:hf hdr="0"/>
  <p:txStyles>
    <p:titleStyle>
      <a:lvl1pPr marL="14400" algn="l" defTabSz="806052" rtl="0" eaLnBrk="1" latinLnBrk="0" hangingPunct="1">
        <a:lnSpc>
          <a:spcPts val="2700"/>
        </a:lnSpc>
        <a:spcBef>
          <a:spcPts val="0"/>
        </a:spcBef>
        <a:spcAft>
          <a:spcPts val="0"/>
        </a:spcAft>
        <a:buNone/>
        <a:defRPr sz="2200" b="1" kern="1200" spc="-35" baseline="0">
          <a:solidFill>
            <a:srgbClr val="000000"/>
          </a:solidFill>
          <a:latin typeface="+mj-lt"/>
          <a:ea typeface="Adobe Fan Heiti Std B" panose="020B0700000000000000" pitchFamily="34" charset="-128"/>
          <a:cs typeface="Adobe Hebrew" panose="02040503050201020203" pitchFamily="18" charset="-79"/>
        </a:defRPr>
      </a:lvl1pPr>
    </p:titleStyle>
    <p:bodyStyle>
      <a:lvl1pPr marL="234000" indent="-212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6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629732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3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94459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anose="020B0604020202020204" pitchFamily="34" charset="0"/>
        <a:buChar char="•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1267851" indent="-158400" algn="l" defTabSz="806052" rtl="0" eaLnBrk="1" latinLnBrk="0" hangingPunct="1">
        <a:lnSpc>
          <a:spcPts val="1800"/>
        </a:lnSpc>
        <a:spcBef>
          <a:spcPts val="200"/>
        </a:spcBef>
        <a:spcAft>
          <a:spcPts val="200"/>
        </a:spcAft>
        <a:buClrTx/>
        <a:buSzPct val="125000"/>
        <a:buFont typeface="Arial" pitchFamily="34" charset="0"/>
        <a:buChar char="–"/>
        <a:defRPr sz="105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582718" indent="-158400" algn="l" defTabSz="806052" rtl="0" eaLnBrk="1" latinLnBrk="0" hangingPunct="1">
        <a:lnSpc>
          <a:spcPts val="2000"/>
        </a:lnSpc>
        <a:spcBef>
          <a:spcPts val="400"/>
        </a:spcBef>
        <a:spcAft>
          <a:spcPts val="300"/>
        </a:spcAft>
        <a:buClrTx/>
        <a:buSzPct val="125000"/>
        <a:buFont typeface="Arial" panose="020B0604020202020204" pitchFamily="34" charset="0"/>
        <a:buChar char="•"/>
        <a:defRPr sz="1000" kern="1200" spc="-35" baseline="0">
          <a:solidFill>
            <a:schemeClr val="tx1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2216640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6pPr>
      <a:lvl7pPr marL="2619666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7pPr>
      <a:lvl8pPr marL="3022694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8pPr>
      <a:lvl9pPr marL="3425719" indent="-201515" algn="l" defTabSz="806052" rtl="0" eaLnBrk="1" latinLnBrk="0" hangingPunct="1">
        <a:spcBef>
          <a:spcPct val="20000"/>
        </a:spcBef>
        <a:buFont typeface="Arial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1pPr>
      <a:lvl2pPr marL="40302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2pPr>
      <a:lvl3pPr marL="806052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3pPr>
      <a:lvl4pPr marL="1209078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4pPr>
      <a:lvl5pPr marL="16121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5pPr>
      <a:lvl6pPr marL="2015123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6pPr>
      <a:lvl7pPr marL="2418157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7pPr>
      <a:lvl8pPr marL="2821180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8pPr>
      <a:lvl9pPr marL="3224205" algn="l" defTabSz="806052" rtl="0" eaLnBrk="1" latinLnBrk="0" hangingPunct="1">
        <a:defRPr sz="158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0" pos="5520" userDrawn="1">
          <p15:clr>
            <a:srgbClr val="F26B43"/>
          </p15:clr>
        </p15:guide>
        <p15:guide id="22" orient="horz" pos="3062" userDrawn="1">
          <p15:clr>
            <a:srgbClr val="F26B43"/>
          </p15:clr>
        </p15:guide>
        <p15:guide id="23" orient="horz" pos="232" userDrawn="1">
          <p15:clr>
            <a:srgbClr val="F26B43"/>
          </p15:clr>
        </p15:guide>
        <p15:guide id="26" pos="240" userDrawn="1">
          <p15:clr>
            <a:srgbClr val="F26B43"/>
          </p15:clr>
        </p15:guide>
        <p15:guide id="27" pos="75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810497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16" imgH="216" progId="TCLayout.ActiveDocument.1">
                  <p:embed/>
                </p:oleObj>
              </mc:Choice>
              <mc:Fallback>
                <p:oleObj name="think-cell Slide" r:id="rId11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B2999A80-A87B-4C57-8050-86B60043C63C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fi-FI" sz="1800" b="1" i="0" baseline="0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8764" y="114577"/>
            <a:ext cx="8618537" cy="58210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fi-FI" dirty="0"/>
              <a:t>Content </a:t>
            </a:r>
            <a:r>
              <a:rPr lang="fi-FI" dirty="0" err="1"/>
              <a:t>title</a:t>
            </a:r>
            <a:endParaRPr lang="fi-FI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4465" y="4933765"/>
            <a:ext cx="578213" cy="144215"/>
          </a:xfrm>
          <a:prstGeom prst="rect">
            <a:avLst/>
          </a:prstGeom>
        </p:spPr>
        <p:txBody>
          <a:bodyPr vert="horz" wrap="square" lIns="0" tIns="0" rIns="0" bIns="0" rtlCol="0" anchor="ctr" anchorCtr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00" b="1" i="0">
                <a:solidFill>
                  <a:srgbClr val="919191"/>
                </a:solidFill>
                <a:latin typeface="Arial Bold"/>
              </a:defRPr>
            </a:lvl1pPr>
          </a:lstStyle>
          <a:p>
            <a:fld id="{0D558541-60C9-42A2-8392-FF12533A6B7A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931937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5" r:id="rId5"/>
    <p:sldLayoutId id="2147483716" r:id="rId6"/>
    <p:sldLayoutId id="2147483717" r:id="rId7"/>
  </p:sldLayoutIdLst>
  <p:hf hdr="0" ftr="0" dt="0"/>
  <p:txStyles>
    <p:titleStyle>
      <a:lvl1pPr algn="l" defTabSz="1300976" rtl="0" eaLnBrk="1" latinLnBrk="0" hangingPunct="1">
        <a:lnSpc>
          <a:spcPct val="80000"/>
        </a:lnSpc>
        <a:spcBef>
          <a:spcPct val="0"/>
        </a:spcBef>
        <a:buNone/>
        <a:defRPr lang="en-US" sz="1800" b="1" i="0" kern="1200" cap="none" spc="0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</p:titleStyle>
    <p:bodyStyle>
      <a:lvl1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1pPr>
      <a:lvl2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2pPr>
      <a:lvl3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3pPr>
      <a:lvl4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1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4pPr>
      <a:lvl5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600" b="0" i="0" kern="1200" cap="none" baseline="0">
          <a:solidFill>
            <a:schemeClr val="tx2"/>
          </a:solidFill>
          <a:latin typeface="+mn-lt"/>
          <a:ea typeface="Arial Black" charset="0"/>
          <a:cs typeface="Arial Black" charset="0"/>
        </a:defRPr>
      </a:lvl5pPr>
      <a:lvl6pPr marL="171446" indent="-136522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600" b="0" i="0" kern="1200" cap="none" baseline="0">
          <a:solidFill>
            <a:schemeClr val="tx2"/>
          </a:solidFill>
          <a:latin typeface="+mn-lt"/>
          <a:ea typeface="Arial Bold" charset="0"/>
          <a:cs typeface="Arial Bold" charset="0"/>
        </a:defRPr>
      </a:lvl6pPr>
      <a:lvl7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1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7pPr>
      <a:lvl8pPr marL="0" indent="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None/>
        <a:defRPr sz="1400" b="0" i="0" kern="1200" cap="none" baseline="0">
          <a:solidFill>
            <a:schemeClr val="tx1"/>
          </a:solidFill>
          <a:latin typeface="+mn-lt"/>
          <a:ea typeface="Arial Bold" charset="0"/>
          <a:cs typeface="Arial Bold" charset="0"/>
        </a:defRPr>
      </a:lvl8pPr>
      <a:lvl9pPr marL="144460" indent="-144460" algn="l" defTabSz="1300976" rtl="0" eaLnBrk="1" latinLnBrk="0" hangingPunct="1">
        <a:lnSpc>
          <a:spcPct val="90000"/>
        </a:lnSpc>
        <a:spcBef>
          <a:spcPts val="600"/>
        </a:spcBef>
        <a:buFont typeface="Arial" charset="0"/>
        <a:buChar char="•"/>
        <a:tabLst/>
        <a:defRPr sz="1400" b="0" i="0" kern="1200" cap="none" baseline="0">
          <a:solidFill>
            <a:schemeClr val="tx1"/>
          </a:solidFill>
          <a:latin typeface="+mn-lt"/>
          <a:ea typeface="Arial Black" charset="0"/>
          <a:cs typeface="Arial Black" charset="0"/>
        </a:defRPr>
      </a:lvl9pPr>
    </p:bodyStyle>
    <p:otherStyle>
      <a:defPPr>
        <a:defRPr lang="en-US"/>
      </a:defPPr>
      <a:lvl1pPr marL="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0488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0976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146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01952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52440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02927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53415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03903" algn="l" defTabSz="1300976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96">
          <p15:clr>
            <a:srgbClr val="F26B43"/>
          </p15:clr>
        </p15:guide>
        <p15:guide id="2" pos="2880">
          <p15:clr>
            <a:srgbClr val="F26B43"/>
          </p15:clr>
        </p15:guide>
        <p15:guide id="3" pos="163">
          <p15:clr>
            <a:srgbClr val="F26B43"/>
          </p15:clr>
        </p15:guide>
        <p15:guide id="4" pos="5592">
          <p15:clr>
            <a:srgbClr val="F26B43"/>
          </p15:clr>
        </p15:guide>
        <p15:guide id="5" orient="horz" pos="852">
          <p15:clr>
            <a:srgbClr val="F26B43"/>
          </p15:clr>
        </p15:guide>
        <p15:guide id="7" orient="horz" pos="156">
          <p15:clr>
            <a:srgbClr val="F26B43"/>
          </p15:clr>
        </p15:guide>
        <p15:guide id="8" orient="horz" pos="2868">
          <p15:clr>
            <a:srgbClr val="F26B43"/>
          </p15:clr>
        </p15:guide>
        <p15:guide id="9" orient="horz" pos="1524">
          <p15:clr>
            <a:srgbClr val="F26B43"/>
          </p15:clr>
        </p15:guide>
        <p15:guide id="10" orient="horz" pos="308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63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oleObject" Target="../embeddings/oleObject9.bin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50FC3B40-AC30-46E2-BCAD-E388935D70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r>
              <a:rPr lang="fi-FI" dirty="0"/>
              <a:t>Teknologiateollisuuden Talousnäkymät</a:t>
            </a:r>
          </a:p>
          <a:p>
            <a:r>
              <a:rPr lang="fi-FI" dirty="0"/>
              <a:t>5.8.2021</a:t>
            </a:r>
          </a:p>
          <a:p>
            <a:endParaRPr lang="fi-FI" dirty="0"/>
          </a:p>
          <a:p>
            <a:r>
              <a:rPr lang="fi-FI" dirty="0"/>
              <a:t>Johtaja, pääekonomisti</a:t>
            </a:r>
          </a:p>
          <a:p>
            <a:r>
              <a:rPr lang="fi-FI" dirty="0"/>
              <a:t>Petteri Rautaporras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5E6AE94-550F-4A51-A044-3C71A83A33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7AB86DA5-6B79-4508-BE0A-50E52FDDE2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DBE36005-B164-4A53-BF16-046D6853FB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607371377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848392" cy="648000"/>
          </a:xfrm>
        </p:spPr>
        <p:txBody>
          <a:bodyPr>
            <a:noAutofit/>
          </a:bodyPr>
          <a:lstStyle/>
          <a:p>
            <a:r>
              <a:rPr lang="fi-FI" dirty="0"/>
              <a:t>Teknologiateollisuuden henkilöstömäärä Suomessa kääntyi kasvuun vuodenvaihte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0</a:t>
            </a:fld>
            <a:endParaRPr lang="fi-FI" dirty="0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Teknologiateollisuus ry:n henkilöstötiedustelu</a:t>
            </a:r>
          </a:p>
        </p:txBody>
      </p:sp>
      <p:graphicFrame>
        <p:nvGraphicFramePr>
          <p:cNvPr id="9" name="Sisällön paikkamerkki 7">
            <a:extLst>
              <a:ext uri="{FF2B5EF4-FFF2-40B4-BE49-F238E27FC236}">
                <a16:creationId xmlns:a16="http://schemas.microsoft.com/office/drawing/2014/main" id="{93F89908-B191-4DB0-8E05-E1C2494CF477}"/>
              </a:ext>
            </a:extLst>
          </p:cNvPr>
          <p:cNvGraphicFramePr>
            <a:graphicFrameLocks/>
          </p:cNvGraphicFramePr>
          <p:nvPr/>
        </p:nvGraphicFramePr>
        <p:xfrm>
          <a:off x="252000" y="1131590"/>
          <a:ext cx="8496464" cy="34563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66976421"/>
      </p:ext>
    </p:extLst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B1EEA068-123C-4013-B1BB-62E35EE52D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Yhteenveto teknologiateollisuuden tilanteesta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1D8F70A0-36D3-4221-BBF8-ACBFA7903F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1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7E1D219-EF19-43BE-A264-915D60C2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4DFD2AD-AFC5-4975-8D04-12C391F42D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6" name="Sisällön paikkamerkki 5">
            <a:extLst>
              <a:ext uri="{FF2B5EF4-FFF2-40B4-BE49-F238E27FC236}">
                <a16:creationId xmlns:a16="http://schemas.microsoft.com/office/drawing/2014/main" id="{438E4283-469C-4E61-9967-BB1E108BD8A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76237" y="886427"/>
            <a:ext cx="8391525" cy="3740000"/>
          </a:xfrm>
        </p:spPr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Teknologiateollisuuden kysyntätilanne jatkui erittäin hyvänä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Saatujen uusien tilausten arvo nousi hieman toisella vuosineljänneksellä alkuvuoteen verrattuna. Vuoden takaiseen nähden uusien tilausten arvo nousi 21 %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50" dirty="0"/>
              <a:t>Uusien tilausten arvo neljänneksen aikana suurin piirtein samalla tasolla, millä oltiin ennen korona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Näkymät lähitulevaisuuteen ovat hyvät, pidempi aikaväli vaikea ennusta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Tuotantomäärät edelleen vasta koronaa edeltävän tason tuntumass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50" dirty="0"/>
              <a:t>Kasvua haittaa niin meillä kuin maailmalla pula raaka-aineista, komponenteista ja välituotteista.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50" dirty="0"/>
              <a:t>Kysynnän ja tarjonnan epätasapaino on johtanut hintojen nousuun erityisesti tuotantoketjun alkupäässä. </a:t>
            </a:r>
          </a:p>
          <a:p>
            <a:pPr marL="757082" lvl="1" indent="-285750">
              <a:buFont typeface="Arial" panose="020B0604020202020204" pitchFamily="34" charset="0"/>
              <a:buChar char="•"/>
            </a:pPr>
            <a:r>
              <a:rPr lang="fi-FI" sz="1050" dirty="0"/>
              <a:t>Epätasapaino jatkunee aiemmin arvioitua pidempään ja erinäisistä ongelmista jouduttaneen kärsimään loppuvuoteen asti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Koronariskiä ei voi edelleenkään poissulkea.</a:t>
            </a:r>
            <a:endParaRPr lang="fi-FI" sz="1300" dirty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i-FI" sz="1300" dirty="0"/>
              <a:t>Kustannuskilpailukyvyn suhteen ei ole varaa virheisiin.</a:t>
            </a:r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1DC11B62-82CC-4782-8C0B-21C0007614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70922604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0907C84-4663-4DC6-B126-256840B8741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r>
              <a:rPr lang="fi-FI" dirty="0"/>
              <a:t>Kommenttipuheenvuorot:</a:t>
            </a:r>
          </a:p>
          <a:p>
            <a:endParaRPr lang="fi-FI" dirty="0"/>
          </a:p>
          <a:p>
            <a:r>
              <a:rPr lang="fi-FI" dirty="0"/>
              <a:t>Jaakko Hirvola</a:t>
            </a:r>
          </a:p>
          <a:p>
            <a:r>
              <a:rPr lang="fi-FI" dirty="0"/>
              <a:t>Minna Helle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7A68CCB8-33EA-41B5-9F9A-507D87401A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1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243FC3-653F-4D19-92B4-86E65DACB7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D0C29F-D373-4791-88C9-86C29F06AD83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85844D15-59B2-4253-AD9D-BEE0FD80FA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29075840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25165083-82DB-4E44-8B62-0436D46FE3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1646" y="339502"/>
            <a:ext cx="7440754" cy="4388545"/>
          </a:xfrm>
        </p:spPr>
        <p:txBody>
          <a:bodyPr/>
          <a:lstStyle/>
          <a:p>
            <a:r>
              <a:rPr lang="fi-FI" dirty="0"/>
              <a:t>Taloudessa vahvaa toipumista vuoden toisella vuosineljänneksellä</a:t>
            </a:r>
          </a:p>
          <a:p>
            <a:endParaRPr lang="fi-FI" dirty="0"/>
          </a:p>
          <a:p>
            <a:pPr>
              <a:lnSpc>
                <a:spcPct val="100000"/>
              </a:lnSpc>
            </a:pPr>
            <a:endParaRPr lang="fi-FI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800" dirty="0"/>
              <a:t>Sekä palveluissa että teollisuudessa tilanne ja näkymät hyvät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8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800" dirty="0"/>
              <a:t>Teollisuudessa tuotanto ei ole kuitenkaan jaksanut nousta koronaa edeltävän tason yli – välituote-, raaka-aine- ja komponenttipula hidastavat kasvua.</a:t>
            </a: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8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800" dirty="0"/>
              <a:t>Uudet virusvariantit ym. edelleen varteenotettava uhka.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829D7C96-6092-444C-B8F9-982503A61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2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52F7CDC9-FE49-461B-8232-A859BAC78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5A29F8-3631-43D8-937B-CB2D984A1FF3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2CA72096-0DE0-44E3-9830-9DCC211505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272776827"/>
      </p:ext>
    </p:extLst>
  </p:cSld>
  <p:clrMapOvr>
    <a:masterClrMapping/>
  </p:clrMapOvr>
  <p:transition spd="med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1EA16522-6D7C-4EC7-AF1E-1A8A6FD7091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pPr marL="10800"/>
            <a:r>
              <a:rPr lang="fi-FI" dirty="0"/>
              <a:t>Euroalueen talous vahvassa kasvussa vuoden toisella vuosineljänneksellä</a:t>
            </a:r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FADE0556-1A8B-4E29-A14B-AD5682B3E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3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84EE05AB-047C-4A5A-B3B0-A239B502E6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A561BEF1-334D-435F-972D-18DA62231D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E5D8414E-05B2-45E8-B1A5-433C94DBAC8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IHS Markit, Eurostat</a:t>
            </a:r>
          </a:p>
          <a:p>
            <a:r>
              <a:rPr lang="fi-FI" dirty="0"/>
              <a:t>Viimeisin tieto: heinäkuu 2021</a:t>
            </a:r>
          </a:p>
        </p:txBody>
      </p:sp>
      <p:pic>
        <p:nvPicPr>
          <p:cNvPr id="8" name="Kuva 7">
            <a:extLst>
              <a:ext uri="{FF2B5EF4-FFF2-40B4-BE49-F238E27FC236}">
                <a16:creationId xmlns:a16="http://schemas.microsoft.com/office/drawing/2014/main" id="{068612EF-B7CD-45C2-8EFE-3B15DE0643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3461" y="1149963"/>
            <a:ext cx="5829077" cy="3577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870155"/>
      </p:ext>
    </p:extLst>
  </p:cSld>
  <p:clrMapOvr>
    <a:masterClrMapping/>
  </p:clrMapOvr>
  <p:transition spd="med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03BBF1FD-9DE0-41D6-BE9F-50764DBBC1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4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3173C5A0-0E27-4167-9C0B-B2000126C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9B74EA60-A953-4FE4-853C-7A9957BAC7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  <p:sp>
        <p:nvSpPr>
          <p:cNvPr id="7" name="Tekstin paikkamerkki 6">
            <a:extLst>
              <a:ext uri="{FF2B5EF4-FFF2-40B4-BE49-F238E27FC236}">
                <a16:creationId xmlns:a16="http://schemas.microsoft.com/office/drawing/2014/main" id="{3733E520-6A08-4E9C-973B-B665E50E185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fi-FI" dirty="0"/>
              <a:t>Lähde: Eurostat, </a:t>
            </a:r>
            <a:r>
              <a:rPr lang="fi-FI" dirty="0" err="1"/>
              <a:t>Macrobond</a:t>
            </a:r>
            <a:endParaRPr lang="fi-FI" dirty="0"/>
          </a:p>
        </p:txBody>
      </p:sp>
      <p:graphicFrame>
        <p:nvGraphicFramePr>
          <p:cNvPr id="9" name="Sisällön paikkamerkki 8">
            <a:extLst>
              <a:ext uri="{FF2B5EF4-FFF2-40B4-BE49-F238E27FC236}">
                <a16:creationId xmlns:a16="http://schemas.microsoft.com/office/drawing/2014/main" id="{77D08159-59A8-4D26-8835-EADDC01FB2C4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3155359239"/>
              </p:ext>
            </p:extLst>
          </p:nvPr>
        </p:nvGraphicFramePr>
        <p:xfrm>
          <a:off x="383718" y="1103313"/>
          <a:ext cx="8386088" cy="354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3" imgW="13193184" imgH="5572640" progId="Mbnd.mbnd">
                  <p:embed/>
                </p:oleObj>
              </mc:Choice>
              <mc:Fallback>
                <p:oleObj name="Macrobond document" r:id="rId3" imgW="13193184" imgH="5572640" progId="Mbnd.mbnd">
                  <p:embed/>
                  <p:pic>
                    <p:nvPicPr>
                      <p:cNvPr id="9" name="Sisällön paikkamerkki 8">
                        <a:extLst>
                          <a:ext uri="{FF2B5EF4-FFF2-40B4-BE49-F238E27FC236}">
                            <a16:creationId xmlns:a16="http://schemas.microsoft.com/office/drawing/2014/main" id="{77D08159-59A8-4D26-8835-EADDC01FB2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83718" y="1103313"/>
                        <a:ext cx="8386088" cy="35417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kstiruutu 5">
            <a:extLst>
              <a:ext uri="{FF2B5EF4-FFF2-40B4-BE49-F238E27FC236}">
                <a16:creationId xmlns:a16="http://schemas.microsoft.com/office/drawing/2014/main" id="{ACB64D57-2C65-4115-B822-B4E241BFDD56}"/>
              </a:ext>
            </a:extLst>
          </p:cNvPr>
          <p:cNvSpPr txBox="1"/>
          <p:nvPr/>
        </p:nvSpPr>
        <p:spPr>
          <a:xfrm>
            <a:off x="781007" y="940812"/>
            <a:ext cx="452539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i-FI" sz="1050" spc="-40" dirty="0"/>
              <a:t>Teollisuustuotannon volyymi-indeksi </a:t>
            </a:r>
          </a:p>
        </p:txBody>
      </p:sp>
      <p:sp>
        <p:nvSpPr>
          <p:cNvPr id="10" name="Tekstin paikkamerkki 9">
            <a:extLst>
              <a:ext uri="{FF2B5EF4-FFF2-40B4-BE49-F238E27FC236}">
                <a16:creationId xmlns:a16="http://schemas.microsoft.com/office/drawing/2014/main" id="{791C78E0-00E0-43A3-BD0C-8AECB56CA32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Autofit/>
          </a:bodyPr>
          <a:lstStyle/>
          <a:p>
            <a:r>
              <a:rPr lang="fi-FI" dirty="0"/>
              <a:t>Teollisuustuotanto toipunut maailmalla koronaa edeltävälle tasolle, mutta ei sen yli</a:t>
            </a:r>
          </a:p>
        </p:txBody>
      </p:sp>
    </p:spTree>
    <p:extLst>
      <p:ext uri="{BB962C8B-B14F-4D97-AF65-F5344CB8AC3E}">
        <p14:creationId xmlns:p14="http://schemas.microsoft.com/office/powerpoint/2010/main" val="3588709971"/>
      </p:ext>
    </p:extLst>
  </p:cSld>
  <p:clrMapOvr>
    <a:masterClrMapping/>
  </p:clrMapOvr>
  <p:transition spd="med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>
            <a:extLst>
              <a:ext uri="{FF2B5EF4-FFF2-40B4-BE49-F238E27FC236}">
                <a16:creationId xmlns:a16="http://schemas.microsoft.com/office/drawing/2014/main" id="{4BB0440D-C81A-46A2-A992-15D38EB5099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4103" y="435100"/>
            <a:ext cx="7935794" cy="4425865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i-FI" dirty="0"/>
              <a:t>Kokonaistilanne suomalaisessa teknologiateollisuudessa on tällä hetkellä hyvä</a:t>
            </a:r>
          </a:p>
          <a:p>
            <a:pPr>
              <a:lnSpc>
                <a:spcPct val="100000"/>
              </a:lnSpc>
            </a:pPr>
            <a:endParaRPr lang="fi-FI" sz="2000" dirty="0"/>
          </a:p>
          <a:p>
            <a:pPr>
              <a:lnSpc>
                <a:spcPct val="100000"/>
              </a:lnSpc>
            </a:pPr>
            <a:endParaRPr lang="fi-FI" sz="2000" dirty="0"/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800" dirty="0"/>
              <a:t>Toisen vuosineljänneksen tilauskertymän arvo hieman suurempi kuin edellisellä neljänneksellä.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400" dirty="0">
                <a:solidFill>
                  <a:schemeClr val="bg1"/>
                </a:solidFill>
              </a:rPr>
              <a:t>Uusien tilausten arvo kokonaisuudessaan hyvällä tasolla, joskin vasta samaa suuruusluokkaa kuin ennen koronaa.</a:t>
            </a:r>
          </a:p>
          <a:p>
            <a:pPr lvl="1">
              <a:lnSpc>
                <a:spcPct val="100000"/>
              </a:lnSpc>
            </a:pPr>
            <a:endParaRPr lang="fi-FI" sz="14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800" dirty="0">
                <a:solidFill>
                  <a:schemeClr val="bg1"/>
                </a:solidFill>
              </a:rPr>
              <a:t>Haasteita komponenttien, raaka-aineiden ja välituotteiden saatavuudessa.</a:t>
            </a:r>
          </a:p>
          <a:p>
            <a:pPr marL="657765" lvl="1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endParaRPr lang="fi-FI" sz="1400" dirty="0">
              <a:solidFill>
                <a:schemeClr val="bg1"/>
              </a:solidFill>
            </a:endParaRPr>
          </a:p>
          <a:p>
            <a:pPr marL="3537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fi-FI" sz="1800" dirty="0"/>
              <a:t>Kysyntätilanne markkinoilla hyvä – tarjouspyyntöjä liikkeellä runsaasti.</a:t>
            </a:r>
          </a:p>
          <a:p>
            <a:pPr>
              <a:lnSpc>
                <a:spcPct val="100000"/>
              </a:lnSpc>
            </a:pPr>
            <a:endParaRPr lang="fi-FI" sz="1800" dirty="0"/>
          </a:p>
        </p:txBody>
      </p:sp>
      <p:sp>
        <p:nvSpPr>
          <p:cNvPr id="3" name="Dian numeron paikkamerkki 2">
            <a:extLst>
              <a:ext uri="{FF2B5EF4-FFF2-40B4-BE49-F238E27FC236}">
                <a16:creationId xmlns:a16="http://schemas.microsoft.com/office/drawing/2014/main" id="{9FB9D53A-29BA-4917-A69D-C33A4A7289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5</a:t>
            </a:fld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D22D1770-AB6E-4312-B195-7F88B9AFA1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A50D0A-99B9-48FE-8B08-047EE10ADBDA}" type="datetime1">
              <a:rPr lang="fi-FI" smtClean="0"/>
              <a:t>4.8.2021</a:t>
            </a:fld>
            <a:endParaRPr lang="fi-FI" dirty="0"/>
          </a:p>
        </p:txBody>
      </p:sp>
      <p:sp>
        <p:nvSpPr>
          <p:cNvPr id="5" name="Alatunnisteen paikkamerkki 4">
            <a:extLst>
              <a:ext uri="{FF2B5EF4-FFF2-40B4-BE49-F238E27FC236}">
                <a16:creationId xmlns:a16="http://schemas.microsoft.com/office/drawing/2014/main" id="{58AADB30-7758-4072-A27D-92205D0172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573167509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Teknologiateollisuuden liikevaihto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/>
              <a:pPr/>
              <a:t>6</a:t>
            </a:fld>
            <a:endParaRPr lang="fi-FI"/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/>
              <a:t>4.8.2021</a:t>
            </a:fld>
            <a:endParaRPr lang="fi-FI"/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/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645382"/>
            <a:ext cx="6060577" cy="165163"/>
          </a:xfrm>
        </p:spPr>
        <p:txBody>
          <a:bodyPr/>
          <a:lstStyle/>
          <a:p>
            <a:r>
              <a:rPr lang="fi-FI" dirty="0"/>
              <a:t>Kausipuhdistetut teollisuuden ja palveluiden liikevaihtokuvaajat</a:t>
            </a:r>
          </a:p>
          <a:p>
            <a:r>
              <a:rPr lang="fi-FI"/>
              <a:t>Osuudet liikevaihdosta 2020: kone- ja metallituoteteollisuus 40 %, elektroniikka- ja sähköteollisuus 22 %, tietotekniikka-ala 19 %, metallien jalostus 12 %, suunnittelu ja konsultointi 8 %</a:t>
            </a:r>
          </a:p>
          <a:p>
            <a:r>
              <a:rPr lang="fi-FI" dirty="0"/>
              <a:t>Lähde: </a:t>
            </a:r>
            <a:r>
              <a:rPr lang="fi-FI" dirty="0" err="1"/>
              <a:t>Macrobond</a:t>
            </a:r>
            <a:r>
              <a:rPr lang="fi-FI" dirty="0"/>
              <a:t>, Tilastokeskus</a:t>
            </a:r>
          </a:p>
          <a:p>
            <a:endParaRPr lang="fi-FI" dirty="0"/>
          </a:p>
        </p:txBody>
      </p:sp>
      <p:graphicFrame>
        <p:nvGraphicFramePr>
          <p:cNvPr id="12" name="Sisällön paikkamerkki 11"/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505085603"/>
              </p:ext>
            </p:extLst>
          </p:nvPr>
        </p:nvGraphicFramePr>
        <p:xfrm>
          <a:off x="392113" y="1106488"/>
          <a:ext cx="8369300" cy="3535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13193184" imgH="5572640" progId="Mbnd.mbnd">
                  <p:embed/>
                </p:oleObj>
              </mc:Choice>
              <mc:Fallback>
                <p:oleObj name="Macrobond document" r:id="rId2" imgW="13193184" imgH="5572640" progId="Mbnd.mbnd">
                  <p:embed/>
                  <p:pic>
                    <p:nvPicPr>
                      <p:cNvPr id="12" name="Sisällön paikkamerkki 1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392113" y="1106488"/>
                        <a:ext cx="8369300" cy="35353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574909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7992000" cy="86397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fi-FI" dirty="0"/>
              <a:t>Teknologiateollisuuden yritysten saamat tarjouspyynnöt Suomessa* </a:t>
            </a:r>
            <a:endParaRPr lang="fi-FI" sz="1600" b="0" dirty="0"/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CB6B90-8271-4E8F-82C1-E646FBB48A2E}" type="slidenum">
              <a:rPr lang="fi-FI" smtClean="0">
                <a:solidFill>
                  <a:srgbClr val="29282E"/>
                </a:solidFill>
              </a:rPr>
              <a:pPr/>
              <a:t>7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0C97DB-DA9C-4CFA-B970-B8599B25F3E4}" type="datetime1">
              <a:rPr lang="fi-FI" smtClean="0">
                <a:solidFill>
                  <a:srgbClr val="29282E"/>
                </a:solidFill>
              </a:rPr>
              <a:pPr/>
              <a:t>4.8.2021</a:t>
            </a:fld>
            <a:endParaRPr lang="fi-FI">
              <a:solidFill>
                <a:srgbClr val="29282E"/>
              </a:solidFill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i-FI">
                <a:solidFill>
                  <a:srgbClr val="29282E"/>
                </a:solidFill>
              </a:rPr>
              <a:t>Teknologiateollisuus</a:t>
            </a: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3029406" cy="292448"/>
          </a:xfrm>
        </p:spPr>
        <p:txBody>
          <a:bodyPr/>
          <a:lstStyle/>
          <a:p>
            <a:r>
              <a:rPr lang="fi-FI" dirty="0"/>
              <a:t>Lähde: Teknologiateollisuus ry:n tilauskantatiedustelu, </a:t>
            </a:r>
          </a:p>
          <a:p>
            <a:r>
              <a:rPr lang="fi-FI" dirty="0"/>
              <a:t>viimeisin kyselyajankohta heinäkuu 2021. </a:t>
            </a:r>
          </a:p>
          <a:p>
            <a:endParaRPr lang="fi-FI" dirty="0"/>
          </a:p>
        </p:txBody>
      </p:sp>
      <p:graphicFrame>
        <p:nvGraphicFramePr>
          <p:cNvPr id="8" name="Sisällön paikkamerkki 7"/>
          <p:cNvGraphicFramePr>
            <a:graphicFrameLocks noGrp="1"/>
          </p:cNvGraphicFramePr>
          <p:nvPr>
            <p:ph sz="quarter" idx="17"/>
          </p:nvPr>
        </p:nvGraphicFramePr>
        <p:xfrm>
          <a:off x="381000" y="1081328"/>
          <a:ext cx="8391525" cy="3304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Suorakulmio 5"/>
          <p:cNvSpPr/>
          <p:nvPr/>
        </p:nvSpPr>
        <p:spPr>
          <a:xfrm>
            <a:off x="609192" y="4288357"/>
            <a:ext cx="822410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800" dirty="0"/>
              <a:t>*) ”Onko tarjouspyyntöjen määrässä viime viikkoina näkyvissä oleellista vähenemistä tai lisääntymistä, kun verrataan tilannetta noin kolme kuukautta sitten vallinneeseen tilanteeseen”. Saldoluku = niiden yritysten osuus, joissa tarjouspyyntöjen määrä on lisääntynyt – niiden yritysten osuus, joissa tarjouspyyntöjen määrä on vähentynyt. Positiivinen saldoluku viittaa kysynnän parantumiseen kolme kuukautta sitten vallinneeseen tilanteeseen nähden.</a:t>
            </a:r>
          </a:p>
        </p:txBody>
      </p:sp>
      <p:graphicFrame>
        <p:nvGraphicFramePr>
          <p:cNvPr id="10" name="Taulukko 9">
            <a:extLst>
              <a:ext uri="{FF2B5EF4-FFF2-40B4-BE49-F238E27FC236}">
                <a16:creationId xmlns:a16="http://schemas.microsoft.com/office/drawing/2014/main" id="{CD03F6E4-A1DB-4839-B471-E329EB65AB8B}"/>
              </a:ext>
            </a:extLst>
          </p:cNvPr>
          <p:cNvGraphicFramePr>
            <a:graphicFrameLocks noGrp="1"/>
          </p:cNvGraphicFramePr>
          <p:nvPr/>
        </p:nvGraphicFramePr>
        <p:xfrm>
          <a:off x="740375" y="2449415"/>
          <a:ext cx="7874991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6327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97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6255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61110">
                  <a:extLst>
                    <a:ext uri="{9D8B030D-6E8A-4147-A177-3AD203B41FA5}">
                      <a16:colId xmlns:a16="http://schemas.microsoft.com/office/drawing/2014/main" val="2330874930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0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5078131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/>
          <a:lstStyle/>
          <a:p>
            <a:r>
              <a:rPr lang="fi-FI" dirty="0"/>
              <a:t>Teknologiateollisuuden*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.8.202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huhti-kesäkuu 2021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/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/2021 / II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,2021 / 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34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5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3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18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21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6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6" name="Text Box 10"/>
          <p:cNvSpPr txBox="1">
            <a:spLocks noChangeArrowheads="1"/>
          </p:cNvSpPr>
          <p:nvPr/>
        </p:nvSpPr>
        <p:spPr bwMode="auto">
          <a:xfrm>
            <a:off x="7255083" y="3953871"/>
            <a:ext cx="1521649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81239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90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Arial Unicode MS"/>
                <a:cs typeface="+mn-cs"/>
              </a:rPr>
              <a:t>*) Pl. metallien jalostus, pelialan ohjelmistoyritykset ja datakeskukset </a:t>
            </a:r>
          </a:p>
        </p:txBody>
      </p:sp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/>
        </p:nvGraphicFramePr>
        <p:xfrm>
          <a:off x="827584" y="3673367"/>
          <a:ext cx="6984774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64595974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in paikkamerkki 1"/>
          <p:cNvSpPr>
            <a:spLocks noGrp="1"/>
          </p:cNvSpPr>
          <p:nvPr>
            <p:ph type="body" sz="quarter" idx="15"/>
          </p:nvPr>
        </p:nvSpPr>
        <p:spPr>
          <a:xfrm>
            <a:off x="252000" y="282150"/>
            <a:ext cx="8421552" cy="6480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fi-FI" dirty="0"/>
              <a:t>Kone- ja metallituoteteollisuuden uudet tilaukset Suomessa</a:t>
            </a:r>
          </a:p>
        </p:txBody>
      </p:sp>
      <p:sp>
        <p:nvSpPr>
          <p:cNvPr id="3" name="Dian numeron paikkamerkki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CB6B90-8271-4E8F-82C1-E646FBB48A2E}" type="slidenum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Päivämäärän paikkamerkki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70C97DB-DA9C-4CFA-B970-B8599B25F3E4}" type="datetime1">
              <a:rPr kumimoji="0" lang="fi-FI" sz="700" b="0" i="0" u="none" strike="noStrike" kern="1200" cap="none" spc="0" normalizeH="0" baseline="0" noProof="0" smtClean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l" defTabSz="6798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.8.2021</a:t>
            </a:fld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798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700" b="0" i="0" u="none" strike="noStrike" kern="1200" cap="none" spc="0" normalizeH="0" baseline="0" noProof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Teknologiateollisuus</a:t>
            </a:r>
            <a:endParaRPr kumimoji="0" lang="fi-FI" sz="700" b="0" i="0" u="none" strike="noStrike" kern="1200" cap="none" spc="0" normalizeH="0" baseline="0" noProof="0" dirty="0">
              <a:ln>
                <a:noFill/>
              </a:ln>
              <a:solidFill>
                <a:srgbClr val="29282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7" name="Tekstin paikkamerkki 6"/>
          <p:cNvSpPr>
            <a:spLocks noGrp="1"/>
          </p:cNvSpPr>
          <p:nvPr>
            <p:ph type="body" sz="quarter" idx="18"/>
          </p:nvPr>
        </p:nvSpPr>
        <p:spPr>
          <a:xfrm>
            <a:off x="2334682" y="4727574"/>
            <a:ext cx="4634955" cy="165163"/>
          </a:xfrm>
        </p:spPr>
        <p:txBody>
          <a:bodyPr/>
          <a:lstStyle/>
          <a:p>
            <a:r>
              <a:rPr lang="fi-FI" dirty="0"/>
              <a:t>Lähde: Teknologiateollisuus ry:n tilauskantatiedustelun vastaajayritykset, </a:t>
            </a:r>
          </a:p>
          <a:p>
            <a:r>
              <a:rPr lang="fi-FI" dirty="0"/>
              <a:t>viimeisin tieto huhti-kesäkuu 2021.</a:t>
            </a:r>
          </a:p>
        </p:txBody>
      </p:sp>
      <p:graphicFrame>
        <p:nvGraphicFramePr>
          <p:cNvPr id="12" name="Object 5"/>
          <p:cNvGraphicFramePr>
            <a:graphicFrameLocks noGrp="1" noChangeAspect="1"/>
          </p:cNvGraphicFramePr>
          <p:nvPr>
            <p:ph sz="quarter" idx="17"/>
          </p:nvPr>
        </p:nvGraphicFramePr>
        <p:xfrm>
          <a:off x="107504" y="1016526"/>
          <a:ext cx="8856983" cy="30456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 Box 7"/>
          <p:cNvSpPr txBox="1">
            <a:spLocks noChangeArrowheads="1"/>
          </p:cNvSpPr>
          <p:nvPr/>
        </p:nvSpPr>
        <p:spPr bwMode="auto">
          <a:xfrm>
            <a:off x="943147" y="1125043"/>
            <a:ext cx="2375726" cy="245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3381" tIns="41690" rIns="83381" bIns="41690">
            <a:spAutoFit/>
          </a:bodyPr>
          <a:lstStyle>
            <a:lvl1pPr defTabSz="827088">
              <a:defRPr>
                <a:solidFill>
                  <a:schemeClr val="tx1"/>
                </a:solidFill>
                <a:latin typeface="Arial" charset="0"/>
              </a:defRPr>
            </a:lvl1pPr>
            <a:lvl2pPr marL="414338" defTabSz="827088">
              <a:defRPr>
                <a:solidFill>
                  <a:schemeClr val="tx1"/>
                </a:solidFill>
                <a:latin typeface="Arial" charset="0"/>
              </a:defRPr>
            </a:lvl2pPr>
            <a:lvl3pPr marL="827088" defTabSz="827088">
              <a:defRPr>
                <a:solidFill>
                  <a:schemeClr val="tx1"/>
                </a:solidFill>
                <a:latin typeface="Arial" charset="0"/>
              </a:defRPr>
            </a:lvl3pPr>
            <a:lvl4pPr marL="1241425" defTabSz="827088">
              <a:defRPr>
                <a:solidFill>
                  <a:schemeClr val="tx1"/>
                </a:solidFill>
                <a:latin typeface="Arial" charset="0"/>
              </a:defRPr>
            </a:lvl4pPr>
            <a:lvl5pPr marL="1655763" defTabSz="827088">
              <a:defRPr>
                <a:solidFill>
                  <a:schemeClr val="tx1"/>
                </a:solidFill>
                <a:latin typeface="Arial" charset="0"/>
              </a:defRPr>
            </a:lvl5pPr>
            <a:lvl6pPr marL="21129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5701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0273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484563" defTabSz="8270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270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050" b="0" i="0" u="none" strike="noStrike" kern="1200" cap="none" spc="0" normalizeH="0" baseline="0" noProof="0" dirty="0">
                <a:ln>
                  <a:noFill/>
                </a:ln>
                <a:solidFill>
                  <a:srgbClr val="29282E"/>
                </a:solidFill>
                <a:effectLst/>
                <a:uLnTx/>
                <a:uFillTx/>
                <a:latin typeface="Verdana"/>
                <a:ea typeface="ＭＳ Ｐゴシック" pitchFamily="34" charset="-128"/>
                <a:cs typeface="+mn-cs"/>
              </a:rPr>
              <a:t>Miljoonaa euroa, käyvin hinnoin </a:t>
            </a:r>
          </a:p>
        </p:txBody>
      </p:sp>
      <p:graphicFrame>
        <p:nvGraphicFramePr>
          <p:cNvPr id="25" name="Taulukko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4931903"/>
              </p:ext>
            </p:extLst>
          </p:nvPr>
        </p:nvGraphicFramePr>
        <p:xfrm>
          <a:off x="3438453" y="3934949"/>
          <a:ext cx="3767898" cy="803820"/>
        </p:xfrm>
        <a:graphic>
          <a:graphicData uri="http://schemas.openxmlformats.org/drawingml/2006/table">
            <a:tbl>
              <a:tblPr/>
              <a:tblGrid>
                <a:gridCol w="863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784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5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b="0" i="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Muutos</a:t>
                      </a:r>
                      <a:r>
                        <a:rPr lang="en-GB" sz="900" b="0" i="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/2021 / II,2020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II,2021 / I,2021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Vientii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8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1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Kotimaahan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8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-28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0955"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900" u="none" strike="noStrike" baseline="0" dirty="0" err="1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Yhteensä</a:t>
                      </a:r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: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15998" marT="15998" marB="15998" anchor="b">
                    <a:lnL w="12700" cmpd="sng">
                      <a:solidFill>
                        <a:srgbClr val="FFFFFF"/>
                      </a:solidFill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49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>
                      <a:lvl1pPr marL="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0302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806052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209078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6121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015123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418157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2821180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224205" algn="l" defTabSz="806052" rtl="0" eaLnBrk="1" latinLnBrk="0" hangingPunct="1">
                        <a:defRPr sz="1587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algn="r" fontAlgn="b"/>
                      <a:r>
                        <a:rPr lang="en-GB" sz="900" u="none" strike="noStrike" baseline="0" dirty="0">
                          <a:solidFill>
                            <a:schemeClr val="tx2"/>
                          </a:solidFill>
                          <a:effectLst/>
                          <a:latin typeface="Verdana" panose="020B0604030504040204" pitchFamily="34" charset="0"/>
                        </a:rPr>
                        <a:t>+7 %</a:t>
                      </a:r>
                      <a:endParaRPr lang="en-GB" sz="900" b="0" i="0" u="none" strike="noStrike" baseline="0" dirty="0">
                        <a:solidFill>
                          <a:schemeClr val="tx2"/>
                        </a:solidFill>
                        <a:effectLst/>
                        <a:latin typeface="Verdana" panose="020B0604030504040204" pitchFamily="34" charset="0"/>
                      </a:endParaRPr>
                    </a:p>
                  </a:txBody>
                  <a:tcPr marL="15998" marR="479927" marT="15998" marB="15998" anchor="b">
                    <a:lnL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rgbClr val="FFFFFF"/>
                      </a:solidFill>
                    </a:lnR>
                    <a:lnT w="12700" cap="flat" cmpd="sng" algn="ctr">
                      <a:solidFill>
                        <a:srgbClr val="29282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4" name="Taulukko 13">
            <a:extLst>
              <a:ext uri="{FF2B5EF4-FFF2-40B4-BE49-F238E27FC236}">
                <a16:creationId xmlns:a16="http://schemas.microsoft.com/office/drawing/2014/main" id="{8AD21D0F-9B6A-4E23-A81A-E23C9B1E89C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1391904"/>
              </p:ext>
            </p:extLst>
          </p:nvPr>
        </p:nvGraphicFramePr>
        <p:xfrm>
          <a:off x="827584" y="3673367"/>
          <a:ext cx="6984774" cy="280504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5828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8281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3822871466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727455605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34493250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761203323"/>
                    </a:ext>
                  </a:extLst>
                </a:gridCol>
                <a:gridCol w="581318">
                  <a:extLst>
                    <a:ext uri="{9D8B030D-6E8A-4147-A177-3AD203B41FA5}">
                      <a16:colId xmlns:a16="http://schemas.microsoft.com/office/drawing/2014/main" val="1605823485"/>
                    </a:ext>
                  </a:extLst>
                </a:gridCol>
              </a:tblGrid>
              <a:tr h="280504"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2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3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4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5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19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050" b="0" baseline="0" dirty="0">
                          <a:solidFill>
                            <a:schemeClr val="tx2"/>
                          </a:solidFill>
                          <a:latin typeface="Verdana" panose="020B0604030504040204" pitchFamily="34" charset="0"/>
                          <a:cs typeface="Arial" panose="020B0604020202020204" pitchFamily="34" charset="0"/>
                        </a:rPr>
                        <a:t>2021</a:t>
                      </a:r>
                    </a:p>
                  </a:txBody>
                  <a:tcPr marL="92160" marR="92160" marT="46080" marB="4608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9966302"/>
      </p:ext>
    </p:extLst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jq246uRr.fpeXiHoBE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FlGw2M3j2W7GeiIxL7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Axy0IjQV2fjaelmgls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pBvpGTuPPj72SKRj4D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k4z5ZsIcPyJlOGtPIfg"/>
</p:tagLst>
</file>

<file path=ppt/theme/theme1.xml><?xml version="1.0" encoding="utf-8"?>
<a:theme xmlns:a="http://schemas.openxmlformats.org/drawingml/2006/main" name="Teknologiateollisuus_masterdia">
  <a:themeElements>
    <a:clrScheme name="Teknologiateollisuus">
      <a:dk1>
        <a:srgbClr val="29282E"/>
      </a:dk1>
      <a:lt1>
        <a:srgbClr val="FFFFFF"/>
      </a:lt1>
      <a:dk2>
        <a:srgbClr val="29282E"/>
      </a:dk2>
      <a:lt2>
        <a:srgbClr val="FFFFFF"/>
      </a:lt2>
      <a:accent1>
        <a:srgbClr val="0070C0"/>
      </a:accent1>
      <a:accent2>
        <a:srgbClr val="FF00B8"/>
      </a:accent2>
      <a:accent3>
        <a:srgbClr val="85E869"/>
      </a:accent3>
      <a:accent4>
        <a:srgbClr val="FF805C"/>
      </a:accent4>
      <a:accent5>
        <a:srgbClr val="8A0FA6"/>
      </a:accent5>
      <a:accent6>
        <a:srgbClr val="FFFF00"/>
      </a:accent6>
      <a:hlink>
        <a:srgbClr val="0ACFCF"/>
      </a:hlink>
      <a:folHlink>
        <a:srgbClr val="0ACFCF"/>
      </a:folHlink>
    </a:clrScheme>
    <a:fontScheme name="Teknologiateollisu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>
          <a:defRPr/>
        </a:defPPr>
      </a:lst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pc="-4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kno_FI_2016" id="{20EA1341-EE32-433B-BC03-FE23A0136C67}" vid="{91854BC2-7349-49C3-92B6-AE41D831ABA0}"/>
    </a:ext>
  </a:extLst>
</a:theme>
</file>

<file path=ppt/theme/theme2.xml><?xml version="1.0" encoding="utf-8"?>
<a:theme xmlns:a="http://schemas.openxmlformats.org/drawingml/2006/main" name="1_Accenture aug2016">
  <a:themeElements>
    <a:clrScheme name="Custom 8">
      <a:dk1>
        <a:srgbClr val="000000"/>
      </a:dk1>
      <a:lt1>
        <a:srgbClr val="FFFFFF"/>
      </a:lt1>
      <a:dk2>
        <a:srgbClr val="919191"/>
      </a:dk2>
      <a:lt2>
        <a:srgbClr val="FF0000"/>
      </a:lt2>
      <a:accent1>
        <a:srgbClr val="FF9128"/>
      </a:accent1>
      <a:accent2>
        <a:srgbClr val="FE3C0F"/>
      </a:accent2>
      <a:accent3>
        <a:srgbClr val="FF0000"/>
      </a:accent3>
      <a:accent4>
        <a:srgbClr val="BC001D"/>
      </a:accent4>
      <a:accent5>
        <a:srgbClr val="920026"/>
      </a:accent5>
      <a:accent6>
        <a:srgbClr val="710011"/>
      </a:accent6>
      <a:hlink>
        <a:srgbClr val="FF0000"/>
      </a:hlink>
      <a:folHlink>
        <a:srgbClr val="710011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60000"/>
            <a:lumOff val="40000"/>
          </a:schemeClr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txDef>
      <a:spPr/>
      <a:bodyPr vert="horz" wrap="square" lIns="0" tIns="0" rIns="0" bIns="0" rtlCol="0">
        <a:noAutofit/>
      </a:bodyPr>
      <a:lstStyle>
        <a:defPPr>
          <a:defRPr sz="1200" dirty="0" err="1"/>
        </a:defPPr>
      </a:lstStyle>
    </a:txDef>
  </a:objectDefaults>
  <a:extraClrSchemeLst/>
  <a:extLst>
    <a:ext uri="{05A4C25C-085E-4340-85A3-A5531E510DB2}">
      <thm15:themeFamily xmlns:thm15="http://schemas.microsoft.com/office/thememl/2012/main" name="200305 Strategic BD approach for Nordics MU - FOR DISCUSSION - v2  -  Read-Only" id="{AA9A4D4A-1FF2-4B35-AF13-9182F4DAE34F}" vid="{51B938EA-64D2-4EA8-B1E9-1C8E57B71BC1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4015653-d442-4718-8e0e-140bab151380">
      <UserInfo>
        <DisplayName>Forsman Daniel</DisplayName>
        <AccountId>38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Asiakirja" ma:contentTypeID="0x010100B54E2ACC82FC5948B3BC53EE2688E412" ma:contentTypeVersion="11" ma:contentTypeDescription="Luo uusi asiakirja." ma:contentTypeScope="" ma:versionID="5fda56d5065e715db5d1a84803b3c218">
  <xsd:schema xmlns:xsd="http://www.w3.org/2001/XMLSchema" xmlns:xs="http://www.w3.org/2001/XMLSchema" xmlns:p="http://schemas.microsoft.com/office/2006/metadata/properties" xmlns:ns3="18888a3a-9613-4736-b8cf-f212d38d32e5" xmlns:ns4="f4015653-d442-4718-8e0e-140bab151380" targetNamespace="http://schemas.microsoft.com/office/2006/metadata/properties" ma:root="true" ma:fieldsID="03e223eeee9631e49b4eb743440104a7" ns3:_="" ns4:_="">
    <xsd:import namespace="18888a3a-9613-4736-b8cf-f212d38d32e5"/>
    <xsd:import namespace="f4015653-d442-4718-8e0e-140bab15138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Tags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8888a3a-9613-4736-b8cf-f212d38d32e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Location" ma:internalName="MediaServiceLocatio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015653-d442-4718-8e0e-140bab151380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Jaettu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Jakamisen tiedot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Jakamisvihjeen hajautus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Sisältölaji"/>
        <xsd:element ref="dc:title" minOccurs="0" maxOccurs="1" ma:index="4" ma:displayName="Otsikk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43AC004-C085-4D53-BC3A-BFB6D15CF169}">
  <ds:schemaRefs>
    <ds:schemaRef ds:uri="f4015653-d442-4718-8e0e-140bab151380"/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0159B844-F195-4D26-97DD-6E2B728D2A0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A2ECDA-83CE-4AD3-BC65-9F6821763B39}">
  <ds:schemaRefs>
    <ds:schemaRef ds:uri="18888a3a-9613-4736-b8cf-f212d38d32e5"/>
    <ds:schemaRef ds:uri="f4015653-d442-4718-8e0e-140bab15138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420</TotalTime>
  <Words>605</Words>
  <Application>Microsoft Office PowerPoint</Application>
  <PresentationFormat>Näytössä katseltava esitys (16:9)</PresentationFormat>
  <Paragraphs>170</Paragraphs>
  <Slides>12</Slides>
  <Notes>5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2</vt:i4>
      </vt:variant>
      <vt:variant>
        <vt:lpstr>Upotetut OLE-palvelimet</vt:lpstr>
      </vt:variant>
      <vt:variant>
        <vt:i4>2</vt:i4>
      </vt:variant>
      <vt:variant>
        <vt:lpstr>Dian otsikot</vt:lpstr>
      </vt:variant>
      <vt:variant>
        <vt:i4>12</vt:i4>
      </vt:variant>
    </vt:vector>
  </HeadingPairs>
  <TitlesOfParts>
    <vt:vector size="20" baseType="lpstr">
      <vt:lpstr>Arial</vt:lpstr>
      <vt:lpstr>Arial Black</vt:lpstr>
      <vt:lpstr>Arial Bold</vt:lpstr>
      <vt:lpstr>Verdana</vt:lpstr>
      <vt:lpstr>Teknologiateollisuus_masterdia</vt:lpstr>
      <vt:lpstr>1_Accenture aug2016</vt:lpstr>
      <vt:lpstr>think-cell Slide</vt:lpstr>
      <vt:lpstr>Macrobond document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  <vt:lpstr>PowerPoint-esitys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Rautaporras Petteri</dc:creator>
  <cp:keywords>Teknologiateollisuus_FI</cp:keywords>
  <cp:lastModifiedBy>Rautaporras Petteri</cp:lastModifiedBy>
  <cp:revision>103</cp:revision>
  <cp:lastPrinted>2020-08-06T06:12:28Z</cp:lastPrinted>
  <dcterms:created xsi:type="dcterms:W3CDTF">2019-10-17T09:08:24Z</dcterms:created>
  <dcterms:modified xsi:type="dcterms:W3CDTF">2021-08-04T06:48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vkameleonVerID">
    <vt:lpwstr>482.21.02.003</vt:lpwstr>
  </property>
  <property fmtid="{D5CDD505-2E9C-101B-9397-08002B2CF9AE}" pid="3" name="dvSaved">
    <vt:lpwstr>1</vt:lpwstr>
  </property>
  <property fmtid="{D5CDD505-2E9C-101B-9397-08002B2CF9AE}" pid="4" name="dvLanguage">
    <vt:lpwstr>1035</vt:lpwstr>
  </property>
  <property fmtid="{D5CDD505-2E9C-101B-9397-08002B2CF9AE}" pid="5" name="dvTemplate">
    <vt:lpwstr>Tekno_fi.potx</vt:lpwstr>
  </property>
  <property fmtid="{D5CDD505-2E9C-101B-9397-08002B2CF9AE}" pid="6" name="dvDefinition">
    <vt:lpwstr>23 (dd_default.xml)</vt:lpwstr>
  </property>
  <property fmtid="{D5CDD505-2E9C-101B-9397-08002B2CF9AE}" pid="7" name="dvDefinitionID">
    <vt:lpwstr>23</vt:lpwstr>
  </property>
  <property fmtid="{D5CDD505-2E9C-101B-9397-08002B2CF9AE}" pid="8" name="dvContentFile">
    <vt:lpwstr>dd_default.xml</vt:lpwstr>
  </property>
  <property fmtid="{D5CDD505-2E9C-101B-9397-08002B2CF9AE}" pid="9" name="dvGlobalVerID">
    <vt:lpwstr>482.90.02.003</vt:lpwstr>
  </property>
  <property fmtid="{D5CDD505-2E9C-101B-9397-08002B2CF9AE}" pid="10" name="dvDefinitionVersion">
    <vt:lpwstr>2.1 / 22.1.2015</vt:lpwstr>
  </property>
  <property fmtid="{D5CDD505-2E9C-101B-9397-08002B2CF9AE}" pid="11" name="filename">
    <vt:lpwstr>false</vt:lpwstr>
  </property>
  <property fmtid="{D5CDD505-2E9C-101B-9397-08002B2CF9AE}" pid="12" name="filenameandpath">
    <vt:lpwstr>false</vt:lpwstr>
  </property>
  <property fmtid="{D5CDD505-2E9C-101B-9397-08002B2CF9AE}" pid="13" name="dvPagenumberExist">
    <vt:lpwstr>1</vt:lpwstr>
  </property>
  <property fmtid="{D5CDD505-2E9C-101B-9397-08002B2CF9AE}" pid="14" name="dvAuthorExist">
    <vt:lpwstr>1</vt:lpwstr>
  </property>
  <property fmtid="{D5CDD505-2E9C-101B-9397-08002B2CF9AE}" pid="15" name="dvDateExist">
    <vt:lpwstr>-1</vt:lpwstr>
  </property>
  <property fmtid="{D5CDD505-2E9C-101B-9397-08002B2CF9AE}" pid="16" name="dvCategory">
    <vt:lpwstr>4</vt:lpwstr>
  </property>
  <property fmtid="{D5CDD505-2E9C-101B-9397-08002B2CF9AE}" pid="17" name="dvCategory_2">
    <vt:lpwstr>0</vt:lpwstr>
  </property>
  <property fmtid="{D5CDD505-2E9C-101B-9397-08002B2CF9AE}" pid="18" name="dvSavepath">
    <vt:lpwstr/>
  </property>
  <property fmtid="{D5CDD505-2E9C-101B-9397-08002B2CF9AE}" pid="19" name="dvUsed">
    <vt:lpwstr>1</vt:lpwstr>
  </property>
  <property fmtid="{D5CDD505-2E9C-101B-9397-08002B2CF9AE}" pid="20" name="dvCompany">
    <vt:lpwstr/>
  </property>
  <property fmtid="{D5CDD505-2E9C-101B-9397-08002B2CF9AE}" pid="21" name="dvSite">
    <vt:lpwstr/>
  </property>
  <property fmtid="{D5CDD505-2E9C-101B-9397-08002B2CF9AE}" pid="22" name="dvNumbering">
    <vt:lpwstr>0</vt:lpwstr>
  </property>
  <property fmtid="{D5CDD505-2E9C-101B-9397-08002B2CF9AE}" pid="23" name="dvDUname">
    <vt:lpwstr>Nora Elers</vt:lpwstr>
  </property>
  <property fmtid="{D5CDD505-2E9C-101B-9397-08002B2CF9AE}" pid="24" name="dvDUdepartment">
    <vt:lpwstr/>
  </property>
  <property fmtid="{D5CDD505-2E9C-101B-9397-08002B2CF9AE}" pid="25" name="dvLogoExist">
    <vt:lpwstr>0</vt:lpwstr>
  </property>
  <property fmtid="{D5CDD505-2E9C-101B-9397-08002B2CF9AE}" pid="26" name="dvCurrentlogo">
    <vt:lpwstr/>
  </property>
  <property fmtid="{D5CDD505-2E9C-101B-9397-08002B2CF9AE}" pid="27" name="ContentTypeId">
    <vt:lpwstr>0x010100B54E2ACC82FC5948B3BC53EE2688E412</vt:lpwstr>
  </property>
  <property fmtid="{D5CDD505-2E9C-101B-9397-08002B2CF9AE}" pid="28" name="TyoryhmanNimi">
    <vt:lpwstr>Talous ja tilastot</vt:lpwstr>
  </property>
</Properties>
</file>